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diagrams/data15.xml" ContentType="application/vnd.openxmlformats-officedocument.drawingml.diagramData+xml"/>
  <Override PartName="/ppt/diagrams/data16.xml" ContentType="application/vnd.openxmlformats-officedocument.drawingml.diagramData+xml"/>
  <Override PartName="/ppt/diagrams/data14.xml" ContentType="application/vnd.openxmlformats-officedocument.drawingml.diagramData+xml"/>
  <Override PartName="/ppt/diagrams/data18.xml" ContentType="application/vnd.openxmlformats-officedocument.drawingml.diagramData+xml"/>
  <Override PartName="/ppt/diagrams/data13.xml" ContentType="application/vnd.openxmlformats-officedocument.drawingml.diagramData+xml"/>
  <Override PartName="/ppt/diagrams/data19.xml" ContentType="application/vnd.openxmlformats-officedocument.drawingml.diagramData+xml"/>
  <Override PartName="/ppt/diagrams/data20.xml" ContentType="application/vnd.openxmlformats-officedocument.drawingml.diagramData+xml"/>
  <Override PartName="/ppt/diagrams/data17.xml" ContentType="application/vnd.openxmlformats-officedocument.drawingml.diagramData+xml"/>
  <Override PartName="/ppt/diagrams/data11.xml" ContentType="application/vnd.openxmlformats-officedocument.drawingml.diagramData+xml"/>
  <Override PartName="/ppt/diagrams/data21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ata7.xml" ContentType="application/vnd.openxmlformats-officedocument.drawingml.diagramData+xml"/>
  <Override PartName="/ppt/diagrams/data8.xml" ContentType="application/vnd.openxmlformats-officedocument.drawingml.diagramData+xml"/>
  <Override PartName="/ppt/diagrams/data9.xml" ContentType="application/vnd.openxmlformats-officedocument.drawingml.diagramData+xml"/>
  <Override PartName="/ppt/diagrams/data10.xml" ContentType="application/vnd.openxmlformats-officedocument.drawingml.diagramData+xml"/>
  <Override PartName="/ppt/diagrams/data12.xml" ContentType="application/vnd.openxmlformats-officedocument.drawingml.diagramData+xml"/>
  <Override PartName="/ppt/diagrams/data2.xml" ContentType="application/vnd.openxmlformats-officedocument.drawingml.diagramData+xml"/>
  <Override PartName="/ppt/diagrams/data22.xml" ContentType="application/vnd.openxmlformats-officedocument.drawingml.diagramData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Layouts/slideLayout1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1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16.xml" ContentType="application/vnd.openxmlformats-officedocument.drawingml.diagramColors+xml"/>
  <Override PartName="/ppt/diagrams/quickStyle15.xml" ContentType="application/vnd.openxmlformats-officedocument.drawingml.diagramStyle+xml"/>
  <Override PartName="/ppt/diagrams/quickStyle16.xml" ContentType="application/vnd.openxmlformats-officedocument.drawingml.diagramStyle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drawing18.xml" ContentType="application/vnd.ms-office.drawingml.diagramDrawing+xml"/>
  <Override PartName="/ppt/diagrams/colors18.xml" ContentType="application/vnd.openxmlformats-officedocument.drawingml.diagramColors+xml"/>
  <Override PartName="/ppt/diagrams/layout17.xml" ContentType="application/vnd.openxmlformats-officedocument.drawingml.diagramLayout+xml"/>
  <Override PartName="/ppt/diagrams/drawing15.xml" ContentType="application/vnd.ms-office.drawingml.diagramDrawing+xml"/>
  <Override PartName="/ppt/diagrams/layout15.xml" ContentType="application/vnd.openxmlformats-officedocument.drawingml.diagramLayout+xml"/>
  <Override PartName="/ppt/diagrams/colors15.xml" ContentType="application/vnd.openxmlformats-officedocument.drawingml.diagramColors+xml"/>
  <Override PartName="/ppt/diagrams/drawing16.xml" ContentType="application/vnd.ms-office.drawingml.diagramDrawing+xml"/>
  <Override PartName="/ppt/diagrams/colors17.xml" ContentType="application/vnd.openxmlformats-officedocument.drawingml.diagramColors+xml"/>
  <Override PartName="/ppt/diagrams/quickStyle17.xml" ContentType="application/vnd.openxmlformats-officedocument.drawingml.diagramStyle+xml"/>
  <Override PartName="/ppt/diagrams/layout16.xml" ContentType="application/vnd.openxmlformats-officedocument.drawingml.diagramLayout+xml"/>
  <Override PartName="/ppt/diagrams/drawing17.xml" ContentType="application/vnd.ms-office.drawingml.diagramDrawing+xml"/>
  <Override PartName="/ppt/diagrams/drawing14.xml" ContentType="application/vnd.ms-office.drawingml.diagramDrawing+xml"/>
  <Override PartName="/ppt/diagrams/quickStyle19.xml" ContentType="application/vnd.openxmlformats-officedocument.drawingml.diagramStyle+xml"/>
  <Override PartName="/ppt/notesMasters/notesMaster1.xml" ContentType="application/vnd.openxmlformats-officedocument.presentationml.notesMaster+xml"/>
  <Override PartName="/ppt/diagrams/drawing20.xml" ContentType="application/vnd.ms-office.drawingml.diagramDrawing+xml"/>
  <Override PartName="/ppt/diagrams/colors20.xml" ContentType="application/vnd.openxmlformats-officedocument.drawingml.diagramColors+xml"/>
  <Override PartName="/ppt/diagrams/quickStyle20.xml" ContentType="application/vnd.openxmlformats-officedocument.drawingml.diagramStyle+xml"/>
  <Override PartName="/ppt/diagrams/layout20.xml" ContentType="application/vnd.openxmlformats-officedocument.drawingml.diagramLayout+xml"/>
  <Override PartName="/ppt/diagrams/drawing19.xml" ContentType="application/vnd.ms-office.drawingml.diagramDrawing+xml"/>
  <Override PartName="/ppt/diagrams/colors19.xml" ContentType="application/vnd.openxmlformats-officedocument.drawingml.diagramColors+xml"/>
  <Override PartName="/ppt/theme/theme1.xml" ContentType="application/vnd.openxmlformats-officedocument.theme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diagrams/drawing22.xml" ContentType="application/vnd.ms-office.drawingml.diagramDrawing+xml"/>
  <Override PartName="/ppt/diagrams/colors22.xml" ContentType="application/vnd.openxmlformats-officedocument.drawingml.diagramColors+xml"/>
  <Override PartName="/ppt/diagrams/quickStyle22.xml" ContentType="application/vnd.openxmlformats-officedocument.drawingml.diagramStyle+xml"/>
  <Override PartName="/ppt/diagrams/layout22.xml" ContentType="application/vnd.openxmlformats-officedocument.drawingml.diagramLayout+xml"/>
  <Override PartName="/ppt/diagrams/drawing21.xml" ContentType="application/vnd.ms-office.drawingml.diagramDrawing+xml"/>
  <Override PartName="/ppt/diagrams/colors21.xml" ContentType="application/vnd.openxmlformats-officedocument.drawingml.diagramColors+xml"/>
  <Override PartName="/ppt/diagrams/layout19.xml" ContentType="application/vnd.openxmlformats-officedocument.drawingml.diagramLayout+xml"/>
  <Override PartName="/ppt/diagrams/colors13.xml" ContentType="application/vnd.openxmlformats-officedocument.drawingml.diagramColors+xml"/>
  <Override PartName="/ppt/diagrams/quickStyle14.xml" ContentType="application/vnd.openxmlformats-officedocument.drawingml.diagramStyle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14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6.xml" ContentType="application/vnd.openxmlformats-officedocument.drawingml.diagramLayout+xml"/>
  <Override PartName="/ppt/diagrams/drawing5.xml" ContentType="application/vnd.ms-office.drawingml.diagramDrawing+xml"/>
  <Override PartName="/ppt/diagrams/colors5.xml" ContentType="application/vnd.openxmlformats-officedocument.drawingml.diagramColors+xml"/>
  <Override PartName="/ppt/diagrams/quickStyle5.xml" ContentType="application/vnd.openxmlformats-officedocument.drawingml.diagramStyle+xml"/>
  <Override PartName="/ppt/diagrams/layout5.xml" ContentType="application/vnd.openxmlformats-officedocument.drawingml.diagramLayout+xml"/>
  <Override PartName="/ppt/diagrams/drawing4.xml" ContentType="application/vnd.ms-office.drawingml.diagramDrawing+xml"/>
  <Override PartName="/ppt/theme/theme2.xml" ContentType="application/vnd.openxmlformats-officedocument.theme+xml"/>
  <Override PartName="/ppt/theme/theme3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colors6.xml" ContentType="application/vnd.openxmlformats-officedocument.drawingml.diagramColors+xml"/>
  <Override PartName="/ppt/diagrams/colors4.xml" ContentType="application/vnd.openxmlformats-officedocument.drawingml.diagramColors+xml"/>
  <Override PartName="/ppt/diagrams/layout14.xml" ContentType="application/vnd.openxmlformats-officedocument.drawingml.diagramLayout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rawing6.xml" ContentType="application/vnd.ms-office.drawingml.diagramDrawing+xml"/>
  <Override PartName="/ppt/diagrams/quickStyle10.xml" ContentType="application/vnd.openxmlformats-officedocument.drawingml.diagramStyle+xml"/>
  <Override PartName="/ppt/diagrams/layout10.xml" ContentType="application/vnd.openxmlformats-officedocument.drawingml.diagramLayout+xml"/>
  <Override PartName="/ppt/diagrams/drawing9.xml" ContentType="application/vnd.ms-office.drawingml.diagramDrawing+xml"/>
  <Override PartName="/ppt/diagrams/colors9.xml" ContentType="application/vnd.openxmlformats-officedocument.drawingml.diagramColors+xml"/>
  <Override PartName="/ppt/diagrams/quickStyle9.xml" ContentType="application/vnd.openxmlformats-officedocument.drawingml.diagramStyle+xml"/>
  <Override PartName="/ppt/diagrams/layout9.xml" ContentType="application/vnd.openxmlformats-officedocument.drawingml.diagramLayout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drawing13.xml" ContentType="application/vnd.ms-office.drawingml.diagramDrawing+xml"/>
  <Override PartName="/ppt/diagrams/drawing12.xml" ContentType="application/vnd.ms-office.drawingml.diagramDrawing+xml"/>
  <Override PartName="/ppt/diagrams/colors12.xml" ContentType="application/vnd.openxmlformats-officedocument.drawingml.diagramColors+xml"/>
  <Override PartName="/ppt/diagrams/quickStyle12.xml" ContentType="application/vnd.openxmlformats-officedocument.drawingml.diagramStyle+xml"/>
  <Override PartName="/ppt/diagrams/layout12.xml" ContentType="application/vnd.openxmlformats-officedocument.drawingml.diagramLayout+xml"/>
  <Override PartName="/ppt/diagrams/drawing11.xml" ContentType="application/vnd.ms-office.drawingml.diagramDrawing+xml"/>
  <Override PartName="/ppt/diagrams/layout8.xml" ContentType="application/vnd.openxmlformats-officedocument.drawingml.diagramLayout+xml"/>
  <Override PartName="/ppt/diagrams/drawing7.xml" ContentType="application/vnd.ms-office.drawingml.diagramDrawing+xml"/>
  <Override PartName="/ppt/diagrams/colors7.xml" ContentType="application/vnd.openxmlformats-officedocument.drawingml.diagramColors+xml"/>
  <Override PartName="/ppt/diagrams/quickStyle7.xml" ContentType="application/vnd.openxmlformats-officedocument.drawingml.diagramStyle+xml"/>
  <Override PartName="/ppt/diagrams/quickStyle8.xml" ContentType="application/vnd.openxmlformats-officedocument.drawingml.diagramStyle+xml"/>
  <Override PartName="/ppt/diagrams/layout7.xml" ContentType="application/vnd.openxmlformats-officedocument.drawingml.diagramLayout+xml"/>
  <Override PartName="/ppt/diagrams/drawing8.xml" ContentType="application/vnd.ms-office.drawingml.diagramDrawing+xml"/>
  <Override PartName="/ppt/diagrams/colors8.xml" ContentType="application/vnd.openxmlformats-officedocument.drawingml.diagramColor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9.xml" ContentType="application/vnd.openxmlformats-officedocument.presentationml.tags+xml"/>
  <Override PartName="/ppt/tags/tag13.xml" ContentType="application/vnd.openxmlformats-officedocument.presentationml.tags+xml"/>
  <Override PartName="/ppt/tags/tag33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.xml" ContentType="application/vnd.openxmlformats-officedocument.presentationml.tags+xml"/>
  <Override PartName="/ppt/tags/tag39.xml" ContentType="application/vnd.openxmlformats-officedocument.presentationml.tags+xml"/>
  <Override PartName="/ppt/tags/tag30.xml" ContentType="application/vnd.openxmlformats-officedocument.presentationml.tags+xml"/>
  <Override PartName="/ppt/tags/tag3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9.xml" ContentType="application/vnd.openxmlformats-officedocument.presentationml.tags+xml"/>
  <Override PartName="/ppt/tags/tag32.xml" ContentType="application/vnd.openxmlformats-officedocument.presentationml.tags+xml"/>
  <Override PartName="/ppt/tags/tag23.xml" ContentType="application/vnd.openxmlformats-officedocument.presentationml.tags+xml"/>
  <Override PartName="/ppt/tags/tag21.xml" ContentType="application/vnd.openxmlformats-officedocument.presentationml.tag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4.xml" ContentType="application/vnd.openxmlformats-officedocument.presentationml.tags+xml"/>
  <Override PartName="/ppt/tags/tag27.xml" ContentType="application/vnd.openxmlformats-officedocument.presentationml.tags+xml"/>
  <Override PartName="/ppt/tags/tag5.xml" ContentType="application/vnd.openxmlformats-officedocument.presentationml.tags+xml"/>
  <Override PartName="/ppt/tags/tag28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ppt/tags/tag31.xml" ContentType="application/vnd.openxmlformats-officedocument.presentationml.tags+xml"/>
  <Override PartName="/ppt/tags/tag22.xml" ContentType="application/vnd.openxmlformats-officedocument.presentationml.tags+xml"/>
  <Override PartName="/ppt/tags/tag3.xml" ContentType="application/vnd.openxmlformats-officedocument.presentationml.tags+xml"/>
  <Override PartName="/ppt/tags/tag35.xml" ContentType="application/vnd.openxmlformats-officedocument.presentationml.tags+xml"/>
  <Override PartName="/ppt/tags/tag4.xml" ContentType="application/vnd.openxmlformats-officedocument.presentationml.tags+xml"/>
  <Override PartName="/ppt/tags/tag24.xml" ContentType="application/vnd.openxmlformats-officedocument.presentationml.tags+xml"/>
  <Override PartName="/ppt/tags/tag2.xml" ContentType="application/vnd.openxmlformats-officedocument.presentationml.tags+xml"/>
  <Override PartName="/ppt/tags/tag25.xml" ContentType="application/vnd.openxmlformats-officedocument.presentationml.tags+xml"/>
  <Override PartName="/ppt/tags/tag2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57" r:id="rId2"/>
    <p:sldId id="258" r:id="rId3"/>
    <p:sldId id="264" r:id="rId4"/>
    <p:sldId id="262" r:id="rId5"/>
    <p:sldId id="259" r:id="rId6"/>
    <p:sldId id="260" r:id="rId7"/>
    <p:sldId id="266" r:id="rId8"/>
    <p:sldId id="268" r:id="rId9"/>
    <p:sldId id="267" r:id="rId10"/>
    <p:sldId id="269" r:id="rId11"/>
    <p:sldId id="270" r:id="rId12"/>
    <p:sldId id="273" r:id="rId13"/>
    <p:sldId id="275" r:id="rId14"/>
    <p:sldId id="274" r:id="rId15"/>
    <p:sldId id="272" r:id="rId16"/>
    <p:sldId id="271" r:id="rId1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AC00"/>
    <a:srgbClr val="91BB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-1188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3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_rels/data20.xml.rels><?xml version="1.0" encoding="UTF-8" standalone="yes"?>
<Relationships xmlns="http://schemas.openxmlformats.org/package/2006/relationships"><Relationship Id="rId1" Type="http://schemas.openxmlformats.org/officeDocument/2006/relationships/hyperlink" Target="mailto:lohanina@yarregion.ru" TargetMode="External"/></Relationships>
</file>

<file path=ppt/diagrams/_rels/drawing20.xml.rels><?xml version="1.0" encoding="UTF-8" standalone="yes"?>
<Relationships xmlns="http://schemas.openxmlformats.org/package/2006/relationships"><Relationship Id="rId1" Type="http://schemas.openxmlformats.org/officeDocument/2006/relationships/hyperlink" Target="mailto:lohanina@yarregion.ru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B7B740-2FCF-41F4-8F8F-B79A4910E179}" type="doc">
      <dgm:prSet loTypeId="urn:microsoft.com/office/officeart/2005/8/layout/b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3AC2CD9-9F16-484A-A527-8620CDC67D2B}">
      <dgm:prSet phldrT="[Текст]" custT="1"/>
      <dgm:spPr>
        <a:xfrm>
          <a:off x="493821" y="287994"/>
          <a:ext cx="1519963" cy="911977"/>
        </a:xfrm>
        <a:prstGeom prst="roundRect">
          <a:avLst>
            <a:gd name="adj" fmla="val 10000"/>
          </a:avLst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авительство области</a:t>
          </a:r>
        </a:p>
      </dgm:t>
    </dgm:pt>
    <dgm:pt modelId="{7DA1BAE5-4603-43AA-A58F-D6BEFC8F1010}" type="parTrans" cxnId="{3BB69EE5-DF47-40C5-8AD1-6A136E2AF1C6}">
      <dgm:prSet/>
      <dgm:spPr/>
      <dgm:t>
        <a:bodyPr/>
        <a:lstStyle/>
        <a:p>
          <a:pPr algn="ctr"/>
          <a:endParaRPr lang="ru-RU"/>
        </a:p>
      </dgm:t>
    </dgm:pt>
    <dgm:pt modelId="{3374C7F2-B539-4AA1-90FF-A974EBEE6F10}" type="sibTrans" cxnId="{3BB69EE5-DF47-40C5-8AD1-6A136E2AF1C6}">
      <dgm:prSet/>
      <dgm:spPr>
        <a:xfrm rot="5430179">
          <a:off x="4044020" y="3087038"/>
          <a:ext cx="459303" cy="469313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EC333AF2-851A-4BB0-B748-C85E46228C90}">
      <dgm:prSet phldrT="[Текст]" custT="1"/>
      <dgm:spPr>
        <a:xfrm>
          <a:off x="483166" y="1318210"/>
          <a:ext cx="1519963" cy="1298765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оведение конкурсного отбора</a:t>
          </a:r>
          <a:endParaRPr lang="ru-RU" sz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A8ED821F-FF8A-4554-92F6-5DB2BDDE60F5}" type="parTrans" cxnId="{DA53748A-7112-43F4-A441-830A8CA6EB4E}">
      <dgm:prSet/>
      <dgm:spPr/>
      <dgm:t>
        <a:bodyPr/>
        <a:lstStyle/>
        <a:p>
          <a:pPr algn="ctr"/>
          <a:endParaRPr lang="ru-RU"/>
        </a:p>
      </dgm:t>
    </dgm:pt>
    <dgm:pt modelId="{99741297-A01E-48CA-B0ED-C482DF56EAAE}" type="sibTrans" cxnId="{DA53748A-7112-43F4-A441-830A8CA6EB4E}">
      <dgm:prSet/>
      <dgm:spPr>
        <a:xfrm rot="21571260" flipH="1">
          <a:off x="6182385" y="4559345"/>
          <a:ext cx="386398" cy="374441"/>
        </a:xfrm>
        <a:prstGeom prst="smileyFace">
          <a:avLst/>
        </a:prstGeom>
        <a:solidFill>
          <a:srgbClr val="FFC000"/>
        </a:solidFill>
        <a:ln>
          <a:solidFill>
            <a:srgbClr val="4F81BD">
              <a:shade val="50000"/>
            </a:srgbClr>
          </a:solidFill>
        </a:ln>
        <a:effectLst/>
      </dgm:spPr>
      <dgm:t>
        <a:bodyPr/>
        <a:lstStyle/>
        <a:p>
          <a:pPr algn="ctr"/>
          <a:endParaRPr lang="ru-RU"/>
        </a:p>
      </dgm:t>
    </dgm:pt>
    <dgm:pt modelId="{516B93B4-DA9C-44A7-BD7E-D6D0AE68776A}">
      <dgm:prSet phldrT="[Текст]" custT="1"/>
      <dgm:spPr>
        <a:xfrm>
          <a:off x="469881" y="2743230"/>
          <a:ext cx="1519963" cy="109875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здание распоряжения Губернатора области о назначении стипендий</a:t>
          </a:r>
        </a:p>
      </dgm:t>
    </dgm:pt>
    <dgm:pt modelId="{BEEA4B23-B89A-4D28-9885-62AB69C618C3}" type="parTrans" cxnId="{FE2C0BB4-8B0A-4CE3-9619-0F61C84E4286}">
      <dgm:prSet/>
      <dgm:spPr/>
      <dgm:t>
        <a:bodyPr/>
        <a:lstStyle/>
        <a:p>
          <a:pPr algn="ctr"/>
          <a:endParaRPr lang="ru-RU"/>
        </a:p>
      </dgm:t>
    </dgm:pt>
    <dgm:pt modelId="{B5DF12CB-8AC8-4F54-A1F6-B605C6DB0459}" type="sibTrans" cxnId="{FE2C0BB4-8B0A-4CE3-9619-0F61C84E4286}">
      <dgm:prSet/>
      <dgm:spPr>
        <a:xfrm rot="21599999">
          <a:off x="827445" y="3822690"/>
          <a:ext cx="640698" cy="441083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2C36B3AC-89AB-4C23-BF9D-8A80A74E25EC}">
      <dgm:prSet phldrT="[Текст]" custT="1"/>
      <dgm:spPr>
        <a:xfrm>
          <a:off x="2557414" y="2835550"/>
          <a:ext cx="1519963" cy="120405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Формирование комплекта заявлений и передача на обработку</a:t>
          </a:r>
          <a:endParaRPr lang="ru-RU" sz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3D362CD4-51EB-4ECE-991A-A8E8C456E5AD}" type="parTrans" cxnId="{DD357E42-5D76-4967-BA90-F09D1BB07C1A}">
      <dgm:prSet/>
      <dgm:spPr/>
      <dgm:t>
        <a:bodyPr/>
        <a:lstStyle/>
        <a:p>
          <a:pPr algn="ctr"/>
          <a:endParaRPr lang="ru-RU"/>
        </a:p>
      </dgm:t>
    </dgm:pt>
    <dgm:pt modelId="{5C399937-CB15-42E1-A6E5-7EA2E8BEC34C}" type="sibTrans" cxnId="{DD357E42-5D76-4967-BA90-F09D1BB07C1A}">
      <dgm:prSet/>
      <dgm:spPr>
        <a:xfrm rot="16169619">
          <a:off x="3181986" y="2471293"/>
          <a:ext cx="217318" cy="463220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C1C4BFAC-ADAC-45AB-B83B-2D5AC03C4849}">
      <dgm:prSet phldrT="[Текст]" custT="1"/>
      <dgm:spPr>
        <a:xfrm>
          <a:off x="2544684" y="1343891"/>
          <a:ext cx="1519963" cy="1284283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оведение </a:t>
          </a:r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внутреннего конкурсного </a:t>
          </a:r>
          <a:r>
            <a:rPr lang="ru-RU" sz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бора</a:t>
          </a:r>
        </a:p>
        <a:p>
          <a:pPr algn="ctr"/>
          <a:r>
            <a:rPr lang="ru-RU" sz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Формирование списка </a:t>
          </a:r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етендентов</a:t>
          </a:r>
          <a:endParaRPr lang="ru-RU" sz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gm:t>
    </dgm:pt>
    <dgm:pt modelId="{DD6D8A11-BAD6-4F93-80FB-B7658DFA41C1}" type="parTrans" cxnId="{8751E2D2-FB61-47B2-BBC4-DA7EC431E59D}">
      <dgm:prSet/>
      <dgm:spPr/>
      <dgm:t>
        <a:bodyPr/>
        <a:lstStyle/>
        <a:p>
          <a:pPr algn="ctr"/>
          <a:endParaRPr lang="ru-RU"/>
        </a:p>
      </dgm:t>
    </dgm:pt>
    <dgm:pt modelId="{DA674760-1A95-477C-9D4E-6346E96BAB63}" type="sibTrans" cxnId="{8751E2D2-FB61-47B2-BBC4-DA7EC431E59D}">
      <dgm:prSet/>
      <dgm:spPr>
        <a:xfrm rot="16200000">
          <a:off x="2060663" y="421663"/>
          <a:ext cx="343252" cy="528839"/>
        </a:xfrm>
        <a:prstGeom prst="mathDivide">
          <a:avLst/>
        </a:prstGeom>
        <a:solidFill>
          <a:srgbClr val="C0504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71B17B73-1D36-4EF1-9320-484497BA3FFE}">
      <dgm:prSet phldrT="[Текст]" custT="1"/>
      <dgm:spPr>
        <a:xfrm>
          <a:off x="2460607" y="286508"/>
          <a:ext cx="1635191" cy="911977"/>
        </a:xfrm>
        <a:prstGeom prst="flowChartMultidocument">
          <a:avLst/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разовательная организация</a:t>
          </a:r>
        </a:p>
      </dgm:t>
    </dgm:pt>
    <dgm:pt modelId="{0CD5AA5A-EF65-4C74-AD5A-E6B90E1BDBE0}" type="parTrans" cxnId="{C3C5B529-D62E-4906-B43C-2D6CD56663B7}">
      <dgm:prSet/>
      <dgm:spPr/>
      <dgm:t>
        <a:bodyPr/>
        <a:lstStyle/>
        <a:p>
          <a:pPr algn="ctr"/>
          <a:endParaRPr lang="ru-RU"/>
        </a:p>
      </dgm:t>
    </dgm:pt>
    <dgm:pt modelId="{590564E6-2EE8-4BC9-85CE-13E83AB7DE08}" type="sibTrans" cxnId="{C3C5B529-D62E-4906-B43C-2D6CD56663B7}">
      <dgm:prSet/>
      <dgm:spPr>
        <a:xfrm flipV="1">
          <a:off x="4035433" y="1790657"/>
          <a:ext cx="497291" cy="424909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9C0A898C-7599-407D-AB47-889B5B5FF522}">
      <dgm:prSet phldrT="[Текст]" custT="1"/>
      <dgm:spPr>
        <a:xfrm>
          <a:off x="4506911" y="237343"/>
          <a:ext cx="1519963" cy="911977"/>
        </a:xfrm>
        <a:prstGeom prst="flowChartMultidocument">
          <a:avLst/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олучатель</a:t>
          </a:r>
        </a:p>
      </dgm:t>
    </dgm:pt>
    <dgm:pt modelId="{8B4DC865-C4B4-424C-93F3-649728C2EDA2}" type="parTrans" cxnId="{994E1864-8DD7-4CB3-8BE3-09847460054B}">
      <dgm:prSet/>
      <dgm:spPr/>
      <dgm:t>
        <a:bodyPr/>
        <a:lstStyle/>
        <a:p>
          <a:pPr algn="ctr"/>
          <a:endParaRPr lang="ru-RU"/>
        </a:p>
      </dgm:t>
    </dgm:pt>
    <dgm:pt modelId="{9466028C-5D8D-454F-A4E3-ACBDBAF2DB4D}" type="sibTrans" cxnId="{994E1864-8DD7-4CB3-8BE3-09847460054B}">
      <dgm:prSet/>
      <dgm:spPr>
        <a:xfrm rot="16200155" flipH="1">
          <a:off x="2060258" y="3071450"/>
          <a:ext cx="379555" cy="587045"/>
        </a:xfrm>
        <a:prstGeom prst="up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9A4324B9-E3F7-4103-A93E-561D5AABCA67}">
      <dgm:prSet phldrT="[Текст]" custT="1"/>
      <dgm:spPr>
        <a:xfrm>
          <a:off x="4497396" y="1296833"/>
          <a:ext cx="1519963" cy="1182379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Заявка </a:t>
          </a:r>
          <a:r>
            <a:rPr lang="ru-RU" sz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а участие в конкурсном отборе</a:t>
          </a:r>
        </a:p>
      </dgm:t>
    </dgm:pt>
    <dgm:pt modelId="{7D89204D-6021-4EE8-AE8C-6F313AF84D2A}" type="parTrans" cxnId="{97C1798C-1E9C-41D4-A63B-B0A9AC482D5E}">
      <dgm:prSet/>
      <dgm:spPr/>
      <dgm:t>
        <a:bodyPr/>
        <a:lstStyle/>
        <a:p>
          <a:pPr algn="ctr"/>
          <a:endParaRPr lang="ru-RU"/>
        </a:p>
      </dgm:t>
    </dgm:pt>
    <dgm:pt modelId="{F9306529-6E8E-4E8E-887D-36DC0D0F3C96}" type="sibTrans" cxnId="{97C1798C-1E9C-41D4-A63B-B0A9AC482D5E}">
      <dgm:prSet/>
      <dgm:spPr>
        <a:xfrm rot="16149900">
          <a:off x="4113883" y="423868"/>
          <a:ext cx="313150" cy="501893"/>
        </a:xfrm>
        <a:prstGeom prst="mathDivide">
          <a:avLst/>
        </a:prstGeom>
        <a:solidFill>
          <a:srgbClr val="C0504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5B59BFC3-ED28-4D22-8D94-CEE593D176C3}">
      <dgm:prSet phldrT="[Текст]" custT="1"/>
      <dgm:spPr>
        <a:xfrm>
          <a:off x="4529277" y="2716829"/>
          <a:ext cx="1519963" cy="124445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формление заявления на обработку персональных данных с указанием банковских реквизитов</a:t>
          </a:r>
        </a:p>
      </dgm:t>
    </dgm:pt>
    <dgm:pt modelId="{18ED1DED-1FCE-4174-B55F-72465D14BEEB}" type="parTrans" cxnId="{E8D873EF-2030-487C-97F4-28FA28DF1B72}">
      <dgm:prSet/>
      <dgm:spPr/>
      <dgm:t>
        <a:bodyPr/>
        <a:lstStyle/>
        <a:p>
          <a:pPr algn="ctr"/>
          <a:endParaRPr lang="ru-RU"/>
        </a:p>
      </dgm:t>
    </dgm:pt>
    <dgm:pt modelId="{F6025F79-517A-402E-9984-4B2692B81637}" type="sibTrans" cxnId="{E8D873EF-2030-487C-97F4-28FA28DF1B72}">
      <dgm:prSet/>
      <dgm:spPr>
        <a:xfrm rot="5386304">
          <a:off x="2059440" y="1768065"/>
          <a:ext cx="446907" cy="536959"/>
        </a:xfrm>
        <a:prstGeom prst="up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7FB6BE82-C7E6-477C-A7A1-948E5C48C329}">
      <dgm:prSet phldrT="[Текст]" custT="1"/>
      <dgm:spPr>
        <a:xfrm>
          <a:off x="4556834" y="4287402"/>
          <a:ext cx="1519963" cy="91197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Зачисление средств на лицевой счет получателя</a:t>
          </a:r>
        </a:p>
      </dgm:t>
    </dgm:pt>
    <dgm:pt modelId="{EA54B6DB-C8AF-4796-AE73-6F0021D5CD73}" type="parTrans" cxnId="{22CF3465-DFA0-4655-A5E3-90AE8C9DA07B}">
      <dgm:prSet/>
      <dgm:spPr/>
      <dgm:t>
        <a:bodyPr/>
        <a:lstStyle/>
        <a:p>
          <a:pPr algn="ctr"/>
          <a:endParaRPr lang="ru-RU"/>
        </a:p>
      </dgm:t>
    </dgm:pt>
    <dgm:pt modelId="{31BA7832-7DF1-48FB-A297-D4556CC7DFBF}" type="sibTrans" cxnId="{22CF3465-DFA0-4655-A5E3-90AE8C9DA07B}">
      <dgm:prSet/>
      <dgm:spPr>
        <a:xfrm rot="10799304">
          <a:off x="2053336" y="4546837"/>
          <a:ext cx="2430434" cy="395181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pPr algn="ctr"/>
          <a:endParaRPr lang="ru-RU"/>
        </a:p>
      </dgm:t>
    </dgm:pt>
    <dgm:pt modelId="{D27F9854-E45C-4F63-B1ED-B1FF07F56990}">
      <dgm:prSet phldrT="[Текст]" custT="1"/>
      <dgm:spPr>
        <a:xfrm>
          <a:off x="448526" y="4287402"/>
          <a:ext cx="1519963" cy="91197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работка заявлений</a:t>
          </a:r>
        </a:p>
        <a:p>
          <a:pPr algn="ctr"/>
          <a:r>
            <a:rPr lang="ru-RU" sz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еречисление </a:t>
          </a:r>
          <a:r>
            <a:rPr lang="ru-RU" sz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средств на лицевой счет получателей</a:t>
          </a:r>
        </a:p>
      </dgm:t>
    </dgm:pt>
    <dgm:pt modelId="{A5FF3088-952E-4764-BE28-E493EC681B27}" type="parTrans" cxnId="{DCDD88A8-B715-4358-8D77-79F97DA293C7}">
      <dgm:prSet/>
      <dgm:spPr/>
      <dgm:t>
        <a:bodyPr/>
        <a:lstStyle/>
        <a:p>
          <a:pPr algn="ctr"/>
          <a:endParaRPr lang="ru-RU"/>
        </a:p>
      </dgm:t>
    </dgm:pt>
    <dgm:pt modelId="{EF753369-94FE-406F-9C15-C3D6FE405BB5}" type="sibTrans" cxnId="{DCDD88A8-B715-4358-8D77-79F97DA293C7}">
      <dgm:prSet/>
      <dgm:spPr/>
      <dgm:t>
        <a:bodyPr/>
        <a:lstStyle/>
        <a:p>
          <a:pPr algn="ctr"/>
          <a:endParaRPr lang="ru-RU"/>
        </a:p>
      </dgm:t>
    </dgm:pt>
    <dgm:pt modelId="{E17651F7-CFA2-4303-AC51-88A4616404A2}" type="pres">
      <dgm:prSet presAssocID="{8AB7B740-2FCF-41F4-8F8F-B79A4910E179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37FB6BDB-077F-4AF7-A339-5DBC0AB4DCAF}" type="pres">
      <dgm:prSet presAssocID="{E3AC2CD9-9F16-484A-A527-8620CDC67D2B}" presName="compNode" presStyleCnt="0"/>
      <dgm:spPr/>
    </dgm:pt>
    <dgm:pt modelId="{E5B7A238-A491-4B00-8292-D9CF22F2FE33}" type="pres">
      <dgm:prSet presAssocID="{E3AC2CD9-9F16-484A-A527-8620CDC67D2B}" presName="dummyConnPt" presStyleCnt="0"/>
      <dgm:spPr/>
    </dgm:pt>
    <dgm:pt modelId="{D45FC5D4-301B-4B83-9C3C-46C9AEADE4A9}" type="pres">
      <dgm:prSet presAssocID="{E3AC2CD9-9F16-484A-A527-8620CDC67D2B}" presName="node" presStyleLbl="node1" presStyleIdx="0" presStyleCnt="11" custLinFactNeighborX="-699" custLinFactNeighborY="31478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43C587A-5728-4A92-80A0-DC116A60ED1A}" type="pres">
      <dgm:prSet presAssocID="{3374C7F2-B539-4AA1-90FF-A974EBEE6F10}" presName="sibTrans" presStyleLbl="bgSibTrans2D1" presStyleIdx="0" presStyleCnt="10" custAng="18711511" custScaleX="41928" custScaleY="468140" custLinFactX="100000" custLinFactY="837511" custLinFactNeighborX="192148" custLinFactNeighborY="900000"/>
      <dgm:spPr>
        <a:prstGeom prst="downArrow">
          <a:avLst/>
        </a:prstGeom>
      </dgm:spPr>
      <dgm:t>
        <a:bodyPr/>
        <a:lstStyle/>
        <a:p>
          <a:endParaRPr lang="ru-RU"/>
        </a:p>
      </dgm:t>
    </dgm:pt>
    <dgm:pt modelId="{AE5798B6-483A-43FA-B7DB-393329607551}" type="pres">
      <dgm:prSet presAssocID="{EC333AF2-851A-4BB0-B748-C85E46228C90}" presName="compNode" presStyleCnt="0"/>
      <dgm:spPr/>
    </dgm:pt>
    <dgm:pt modelId="{2D0769E2-6FAC-4BBB-95B1-467565DB6B2D}" type="pres">
      <dgm:prSet presAssocID="{EC333AF2-851A-4BB0-B748-C85E46228C90}" presName="dummyConnPt" presStyleCnt="0"/>
      <dgm:spPr/>
    </dgm:pt>
    <dgm:pt modelId="{EAF5452F-346C-4AC7-BF6E-E9845B7CC7F2}" type="pres">
      <dgm:prSet presAssocID="{EC333AF2-851A-4BB0-B748-C85E46228C90}" presName="node" presStyleLbl="node1" presStyleIdx="1" presStyleCnt="11" custScaleY="142412" custLinFactNeighborX="-1400" custLinFactNeighborY="1944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E49FB858-64FC-4F86-B0F1-1F3EE976C931}" type="pres">
      <dgm:prSet presAssocID="{99741297-A01E-48CA-B0ED-C482DF56EAAE}" presName="sibTrans" presStyleLbl="bgSibTrans2D1" presStyleIdx="1" presStyleCnt="10" custAng="16193993" custFlipHor="1" custScaleX="29399" custScaleY="273721" custLinFactX="159924" custLinFactY="900000" custLinFactNeighborX="200000" custLinFactNeighborY="963504"/>
      <dgm:spPr>
        <a:prstGeom prst="smileyFace">
          <a:avLst/>
        </a:prstGeom>
      </dgm:spPr>
      <dgm:t>
        <a:bodyPr/>
        <a:lstStyle/>
        <a:p>
          <a:endParaRPr lang="ru-RU"/>
        </a:p>
      </dgm:t>
    </dgm:pt>
    <dgm:pt modelId="{0F22201C-2AE8-42A2-B378-7584CAD39464}" type="pres">
      <dgm:prSet presAssocID="{516B93B4-DA9C-44A7-BD7E-D6D0AE68776A}" presName="compNode" presStyleCnt="0"/>
      <dgm:spPr/>
    </dgm:pt>
    <dgm:pt modelId="{6CEA4ACB-6948-4AF2-BED1-F6575927D0BA}" type="pres">
      <dgm:prSet presAssocID="{516B93B4-DA9C-44A7-BD7E-D6D0AE68776A}" presName="dummyConnPt" presStyleCnt="0"/>
      <dgm:spPr/>
    </dgm:pt>
    <dgm:pt modelId="{A122D57A-F75C-4124-8B9A-ED8FADAD85C3}" type="pres">
      <dgm:prSet presAssocID="{516B93B4-DA9C-44A7-BD7E-D6D0AE68776A}" presName="node" presStyleLbl="node1" presStyleIdx="2" presStyleCnt="11" custScaleY="120480" custLinFactNeighborX="1747" custLinFactNeighborY="16235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31563D53-AB32-4553-B7CA-ECDDC79D4D61}" type="pres">
      <dgm:prSet presAssocID="{B5DF12CB-8AC8-4F54-A1F6-B605C6DB0459}" presName="sibTrans" presStyleLbl="bgSibTrans2D1" presStyleIdx="2" presStyleCnt="10" custAng="2199471" custScaleX="24109" custScaleY="509932" custLinFactY="378444" custLinFactNeighborX="19269" custLinFactNeighborY="400000"/>
      <dgm:spPr>
        <a:prstGeom prst="downArrow">
          <a:avLst/>
        </a:prstGeom>
      </dgm:spPr>
      <dgm:t>
        <a:bodyPr/>
        <a:lstStyle/>
        <a:p>
          <a:endParaRPr lang="ru-RU"/>
        </a:p>
      </dgm:t>
    </dgm:pt>
    <dgm:pt modelId="{D2DAED5E-8F6C-4834-9980-BDC17DD36240}" type="pres">
      <dgm:prSet presAssocID="{2C36B3AC-89AB-4C23-BF9D-8A80A74E25EC}" presName="compNode" presStyleCnt="0"/>
      <dgm:spPr/>
    </dgm:pt>
    <dgm:pt modelId="{5BE528E5-41E2-4795-AA9B-05A8E35318F0}" type="pres">
      <dgm:prSet presAssocID="{2C36B3AC-89AB-4C23-BF9D-8A80A74E25EC}" presName="dummyConnPt" presStyleCnt="0"/>
      <dgm:spPr/>
    </dgm:pt>
    <dgm:pt modelId="{A46ED99A-7F5F-40D4-A771-A5A6DDE3DAA3}" type="pres">
      <dgm:prSet presAssocID="{2C36B3AC-89AB-4C23-BF9D-8A80A74E25EC}" presName="node" presStyleLbl="node1" presStyleIdx="3" presStyleCnt="11" custScaleY="132027" custLinFactX="36743" custLinFactNeighborX="100000" custLinFactNeighborY="-97087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3A59E2CC-4CF4-4E8A-B4B6-4F3D92F8627D}" type="pres">
      <dgm:prSet presAssocID="{5C399937-CB15-42E1-A6E5-7EA2E8BEC34C}" presName="sibTrans" presStyleLbl="bgSibTrans2D1" presStyleIdx="3" presStyleCnt="10" custScaleX="15087" custScaleY="338620" custLinFactNeighborX="-98114" custLinFactNeighborY="88046"/>
      <dgm:spPr>
        <a:prstGeom prst="leftArrow">
          <a:avLst/>
        </a:prstGeom>
      </dgm:spPr>
      <dgm:t>
        <a:bodyPr/>
        <a:lstStyle/>
        <a:p>
          <a:endParaRPr lang="ru-RU"/>
        </a:p>
      </dgm:t>
    </dgm:pt>
    <dgm:pt modelId="{0B3E228E-8EFD-48B0-9A80-5F1D446E8A01}" type="pres">
      <dgm:prSet presAssocID="{C1C4BFAC-ADAC-45AB-B83B-2D5AC03C4849}" presName="compNode" presStyleCnt="0"/>
      <dgm:spPr/>
    </dgm:pt>
    <dgm:pt modelId="{45C6FDC3-34A5-4CAF-9CEB-5FE6E4526A24}" type="pres">
      <dgm:prSet presAssocID="{C1C4BFAC-ADAC-45AB-B83B-2D5AC03C4849}" presName="dummyConnPt" presStyleCnt="0"/>
      <dgm:spPr/>
    </dgm:pt>
    <dgm:pt modelId="{DA29E00A-784B-4BA4-B22F-7428E659AC8B}" type="pres">
      <dgm:prSet presAssocID="{C1C4BFAC-ADAC-45AB-B83B-2D5AC03C4849}" presName="node" presStyleLbl="node1" presStyleIdx="4" presStyleCnt="11" custScaleY="140824" custLinFactY="-100000" custLinFactNeighborX="-2561" custLinFactNeighborY="-181836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9B9B03EF-05DB-4F09-BA0E-A0D4030923D9}" type="pres">
      <dgm:prSet presAssocID="{DA674760-1A95-477C-9D4E-6346E96BAB63}" presName="sibTrans" presStyleLbl="bgSibTrans2D1" presStyleIdx="4" presStyleCnt="10" custAng="73728" custScaleX="27817" custScaleY="386588" custLinFactY="-125917" custLinFactNeighborX="-49211" custLinFactNeighborY="-200000"/>
      <dgm:spPr>
        <a:prstGeom prst="mathDivide">
          <a:avLst/>
        </a:prstGeom>
      </dgm:spPr>
      <dgm:t>
        <a:bodyPr/>
        <a:lstStyle/>
        <a:p>
          <a:endParaRPr lang="ru-RU"/>
        </a:p>
      </dgm:t>
    </dgm:pt>
    <dgm:pt modelId="{D43E516C-C05B-49CC-9D3D-1547E0C8C072}" type="pres">
      <dgm:prSet presAssocID="{71B17B73-1D36-4EF1-9320-484497BA3FFE}" presName="compNode" presStyleCnt="0"/>
      <dgm:spPr/>
    </dgm:pt>
    <dgm:pt modelId="{47D2F857-1B33-43A0-8392-4C432BBB66E7}" type="pres">
      <dgm:prSet presAssocID="{71B17B73-1D36-4EF1-9320-484497BA3FFE}" presName="dummyConnPt" presStyleCnt="0"/>
      <dgm:spPr/>
    </dgm:pt>
    <dgm:pt modelId="{E038CD2C-A8A1-40AC-8FAD-7515E38096FE}" type="pres">
      <dgm:prSet presAssocID="{71B17B73-1D36-4EF1-9320-484497BA3FFE}" presName="node" presStyleLbl="node1" presStyleIdx="5" presStyleCnt="11" custScaleX="107581" custLinFactY="-100000" custLinFactNeighborX="-4302" custLinFactNeighborY="-172780">
        <dgm:presLayoutVars>
          <dgm:bulletEnabled val="1"/>
        </dgm:presLayoutVars>
      </dgm:prSet>
      <dgm:spPr>
        <a:prstGeom prst="flowChartMultidocument">
          <a:avLst/>
        </a:prstGeom>
      </dgm:spPr>
      <dgm:t>
        <a:bodyPr/>
        <a:lstStyle/>
        <a:p>
          <a:endParaRPr lang="ru-RU"/>
        </a:p>
      </dgm:t>
    </dgm:pt>
    <dgm:pt modelId="{4C9D5939-25EB-4842-955C-354B57BA0CDE}" type="pres">
      <dgm:prSet presAssocID="{590564E6-2EE8-4BC9-85CE-13E83AB7DE08}" presName="sibTrans" presStyleLbl="bgSibTrans2D1" presStyleIdx="5" presStyleCnt="10" custAng="78076" custFlipVert="1" custScaleX="25055" custScaleY="310614" custLinFactY="507231" custLinFactNeighborX="23238" custLinFactNeighborY="600000"/>
      <dgm:spPr>
        <a:prstGeom prst="leftArrow">
          <a:avLst/>
        </a:prstGeom>
      </dgm:spPr>
      <dgm:t>
        <a:bodyPr/>
        <a:lstStyle/>
        <a:p>
          <a:endParaRPr lang="ru-RU"/>
        </a:p>
      </dgm:t>
    </dgm:pt>
    <dgm:pt modelId="{C1AB1A21-2F60-4907-8E80-C83ACE690B33}" type="pres">
      <dgm:prSet presAssocID="{9C0A898C-7599-407D-AB47-889B5B5FF522}" presName="compNode" presStyleCnt="0"/>
      <dgm:spPr/>
    </dgm:pt>
    <dgm:pt modelId="{A35DBA92-F3EB-4C0F-8724-3DB8D9C88FE5}" type="pres">
      <dgm:prSet presAssocID="{9C0A898C-7599-407D-AB47-889B5B5FF522}" presName="dummyConnPt" presStyleCnt="0"/>
      <dgm:spPr/>
    </dgm:pt>
    <dgm:pt modelId="{37739627-B4A1-4263-8975-DF072C5DA3A1}" type="pres">
      <dgm:prSet presAssocID="{9C0A898C-7599-407D-AB47-889B5B5FF522}" presName="node" presStyleLbl="node1" presStyleIdx="6" presStyleCnt="11" custLinFactX="26536" custLinFactY="-53171" custLinFactNeighborX="100000" custLinFactNeighborY="-100000">
        <dgm:presLayoutVars>
          <dgm:bulletEnabled val="1"/>
        </dgm:presLayoutVars>
      </dgm:prSet>
      <dgm:spPr>
        <a:prstGeom prst="flowChartMultidocument">
          <a:avLst/>
        </a:prstGeom>
      </dgm:spPr>
      <dgm:t>
        <a:bodyPr/>
        <a:lstStyle/>
        <a:p>
          <a:endParaRPr lang="ru-RU"/>
        </a:p>
      </dgm:t>
    </dgm:pt>
    <dgm:pt modelId="{FC12D61A-6B5B-485C-BA12-D6B11E3C54E9}" type="pres">
      <dgm:prSet presAssocID="{9466028C-5D8D-454F-A4E3-ACBDBAF2DB4D}" presName="sibTrans" presStyleLbl="bgSibTrans2D1" presStyleIdx="6" presStyleCnt="10" custAng="21572249" custFlipHor="1" custScaleX="32021" custScaleY="1796010" custLinFactX="-23793" custLinFactY="691139" custLinFactNeighborX="-100000" custLinFactNeighborY="700000"/>
      <dgm:spPr>
        <a:prstGeom prst="downArrow">
          <a:avLst/>
        </a:prstGeom>
      </dgm:spPr>
      <dgm:t>
        <a:bodyPr/>
        <a:lstStyle/>
        <a:p>
          <a:endParaRPr lang="ru-RU"/>
        </a:p>
      </dgm:t>
    </dgm:pt>
    <dgm:pt modelId="{D87CCC5D-4A54-4F83-B460-C068E5BA1518}" type="pres">
      <dgm:prSet presAssocID="{9A4324B9-E3F7-4103-A93E-561D5AABCA67}" presName="compNode" presStyleCnt="0"/>
      <dgm:spPr/>
    </dgm:pt>
    <dgm:pt modelId="{0622D93D-AC5C-433C-98E8-BB5D2D85C00B}" type="pres">
      <dgm:prSet presAssocID="{9A4324B9-E3F7-4103-A93E-561D5AABCA67}" presName="dummyConnPt" presStyleCnt="0"/>
      <dgm:spPr/>
    </dgm:pt>
    <dgm:pt modelId="{0E7715F1-75C4-4271-B4F6-8DE0E62B4E78}" type="pres">
      <dgm:prSet presAssocID="{9A4324B9-E3F7-4103-A93E-561D5AABCA67}" presName="node" presStyleLbl="node1" presStyleIdx="7" presStyleCnt="11" custScaleY="129650" custLinFactX="25910" custLinFactY="17654" custLinFactNeighborX="100000" custLinFactNeighborY="10000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95B6CC0-8EC3-4669-9875-974D5816574A}" type="pres">
      <dgm:prSet presAssocID="{F9306529-6E8E-4E8E-887D-36DC0D0F3C96}" presName="sibTrans" presStyleLbl="bgSibTrans2D1" presStyleIdx="7" presStyleCnt="10" custAng="10825991" custScaleX="21739" custScaleY="366890" custLinFactY="-600000" custLinFactNeighborX="-38248" custLinFactNeighborY="-647898"/>
      <dgm:spPr>
        <a:prstGeom prst="mathDivide">
          <a:avLst/>
        </a:prstGeom>
      </dgm:spPr>
      <dgm:t>
        <a:bodyPr/>
        <a:lstStyle/>
        <a:p>
          <a:endParaRPr lang="ru-RU"/>
        </a:p>
      </dgm:t>
    </dgm:pt>
    <dgm:pt modelId="{7061E214-D7C2-4CE7-A814-7CED05564DC7}" type="pres">
      <dgm:prSet presAssocID="{5B59BFC3-ED28-4D22-8D94-CEE593D176C3}" presName="compNode" presStyleCnt="0"/>
      <dgm:spPr/>
    </dgm:pt>
    <dgm:pt modelId="{122C3B17-5903-44D5-8E83-45536CB9FEF8}" type="pres">
      <dgm:prSet presAssocID="{5B59BFC3-ED28-4D22-8D94-CEE593D176C3}" presName="dummyConnPt" presStyleCnt="0"/>
      <dgm:spPr/>
    </dgm:pt>
    <dgm:pt modelId="{1A710EDB-3D22-4A7F-8F91-AFA2C70F629E}" type="pres">
      <dgm:prSet presAssocID="{5B59BFC3-ED28-4D22-8D94-CEE593D176C3}" presName="node" presStyleLbl="node1" presStyleIdx="8" presStyleCnt="11" custScaleY="136457" custLinFactY="100000" custLinFactNeighborX="-8783" custLinFactNeighborY="173359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CD466EC-0AC3-449C-925A-B0243D0D4864}" type="pres">
      <dgm:prSet presAssocID="{F6025F79-517A-402E-9984-4B2692B81637}" presName="sibTrans" presStyleLbl="bgSibTrans2D1" presStyleIdx="8" presStyleCnt="10" custAng="43971" custScaleX="31946" custScaleY="392524" custLinFactX="-83438" custLinFactY="-600000" custLinFactNeighborX="-100000" custLinFactNeighborY="-698253"/>
      <dgm:spPr>
        <a:prstGeom prst="downArrow">
          <a:avLst/>
        </a:prstGeom>
      </dgm:spPr>
      <dgm:t>
        <a:bodyPr/>
        <a:lstStyle/>
        <a:p>
          <a:endParaRPr lang="ru-RU"/>
        </a:p>
      </dgm:t>
    </dgm:pt>
    <dgm:pt modelId="{E2426E4A-B2C0-4E7E-99C7-72CB7C52ABE8}" type="pres">
      <dgm:prSet presAssocID="{7FB6BE82-C7E6-477C-A7A1-948E5C48C329}" presName="compNode" presStyleCnt="0"/>
      <dgm:spPr/>
    </dgm:pt>
    <dgm:pt modelId="{954FFB0E-6057-4A4B-9C6F-29AACAA6C8D7}" type="pres">
      <dgm:prSet presAssocID="{7FB6BE82-C7E6-477C-A7A1-948E5C48C329}" presName="dummyConnPt" presStyleCnt="0"/>
      <dgm:spPr/>
    </dgm:pt>
    <dgm:pt modelId="{EBDEE11E-E5D0-481A-999D-1C7C376F6E0C}" type="pres">
      <dgm:prSet presAssocID="{7FB6BE82-C7E6-477C-A7A1-948E5C48C329}" presName="node" presStyleLbl="node1" presStyleIdx="9" presStyleCnt="11" custLinFactY="100000" custLinFactNeighborX="-6970" custLinFactNeighborY="197929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5B041D4-1B0C-4D23-BFCB-F7F38E08ED6B}" type="pres">
      <dgm:prSet presAssocID="{31BA7832-7DF1-48FB-A297-D4556CC7DFBF}" presName="sibTrans" presStyleLbl="bgSibTrans2D1" presStyleIdx="9" presStyleCnt="10" custAng="21492758" custScaleX="69307" custScaleY="288882" custLinFactY="146396" custLinFactNeighborX="8118" custLinFactNeighborY="200000"/>
      <dgm:spPr>
        <a:prstGeom prst="leftArrow">
          <a:avLst/>
        </a:prstGeom>
      </dgm:spPr>
      <dgm:t>
        <a:bodyPr/>
        <a:lstStyle/>
        <a:p>
          <a:endParaRPr lang="ru-RU"/>
        </a:p>
      </dgm:t>
    </dgm:pt>
    <dgm:pt modelId="{BAAC988A-6D3D-4CEF-B8B7-ECCCF9A2190A}" type="pres">
      <dgm:prSet presAssocID="{D27F9854-E45C-4F63-B1ED-B1FF07F56990}" presName="compNode" presStyleCnt="0"/>
      <dgm:spPr/>
    </dgm:pt>
    <dgm:pt modelId="{17B9A074-CC18-497C-BEAE-0E25D09E5F01}" type="pres">
      <dgm:prSet presAssocID="{D27F9854-E45C-4F63-B1ED-B1FF07F56990}" presName="dummyConnPt" presStyleCnt="0"/>
      <dgm:spPr/>
    </dgm:pt>
    <dgm:pt modelId="{8C194130-1A46-47C4-8750-946FDD03AF05}" type="pres">
      <dgm:prSet presAssocID="{D27F9854-E45C-4F63-B1ED-B1FF07F56990}" presName="node" presStyleLbl="node1" presStyleIdx="10" presStyleCnt="11" custScaleX="91787" custScaleY="121861" custLinFactX="-100000" custLinFactY="33438" custLinFactNeighborX="-172823" custLinFactNeighborY="10000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</dgm:ptLst>
  <dgm:cxnLst>
    <dgm:cxn modelId="{FE30D03F-01BA-4463-AF3D-BA4C1A250891}" type="presOf" srcId="{F9306529-6E8E-4E8E-887D-36DC0D0F3C96}" destId="{795B6CC0-8EC3-4669-9875-974D5816574A}" srcOrd="0" destOrd="0" presId="urn:microsoft.com/office/officeart/2005/8/layout/bProcess4"/>
    <dgm:cxn modelId="{CCEACA78-4F3D-4AB1-97D6-DDC359BF8713}" type="presOf" srcId="{DA674760-1A95-477C-9D4E-6346E96BAB63}" destId="{9B9B03EF-05DB-4F09-BA0E-A0D4030923D9}" srcOrd="0" destOrd="0" presId="urn:microsoft.com/office/officeart/2005/8/layout/bProcess4"/>
    <dgm:cxn modelId="{1ECF5626-69CC-4CC8-B61A-BD93FFDC2051}" type="presOf" srcId="{5C399937-CB15-42E1-A6E5-7EA2E8BEC34C}" destId="{3A59E2CC-4CF4-4E8A-B4B6-4F3D92F8627D}" srcOrd="0" destOrd="0" presId="urn:microsoft.com/office/officeart/2005/8/layout/bProcess4"/>
    <dgm:cxn modelId="{1E993466-6519-4651-8E90-1136115F9AC0}" type="presOf" srcId="{590564E6-2EE8-4BC9-85CE-13E83AB7DE08}" destId="{4C9D5939-25EB-4842-955C-354B57BA0CDE}" srcOrd="0" destOrd="0" presId="urn:microsoft.com/office/officeart/2005/8/layout/bProcess4"/>
    <dgm:cxn modelId="{D70BEC4B-2E37-44A2-B8C8-40597A30D8F3}" type="presOf" srcId="{5B59BFC3-ED28-4D22-8D94-CEE593D176C3}" destId="{1A710EDB-3D22-4A7F-8F91-AFA2C70F629E}" srcOrd="0" destOrd="0" presId="urn:microsoft.com/office/officeart/2005/8/layout/bProcess4"/>
    <dgm:cxn modelId="{34A81707-8003-48D4-A0D4-C316192BC833}" type="presOf" srcId="{516B93B4-DA9C-44A7-BD7E-D6D0AE68776A}" destId="{A122D57A-F75C-4124-8B9A-ED8FADAD85C3}" srcOrd="0" destOrd="0" presId="urn:microsoft.com/office/officeart/2005/8/layout/bProcess4"/>
    <dgm:cxn modelId="{7EA2F383-B952-4FC0-A1B1-EA95AF0CB715}" type="presOf" srcId="{F6025F79-517A-402E-9984-4B2692B81637}" destId="{0CD466EC-0AC3-449C-925A-B0243D0D4864}" srcOrd="0" destOrd="0" presId="urn:microsoft.com/office/officeart/2005/8/layout/bProcess4"/>
    <dgm:cxn modelId="{0043768A-C11A-4E87-A8BA-F12F31676B5C}" type="presOf" srcId="{99741297-A01E-48CA-B0ED-C482DF56EAAE}" destId="{E49FB858-64FC-4F86-B0F1-1F3EE976C931}" srcOrd="0" destOrd="0" presId="urn:microsoft.com/office/officeart/2005/8/layout/bProcess4"/>
    <dgm:cxn modelId="{CA26BAAE-7C62-4F2B-9ED4-2448AF7C8A95}" type="presOf" srcId="{EC333AF2-851A-4BB0-B748-C85E46228C90}" destId="{EAF5452F-346C-4AC7-BF6E-E9845B7CC7F2}" srcOrd="0" destOrd="0" presId="urn:microsoft.com/office/officeart/2005/8/layout/bProcess4"/>
    <dgm:cxn modelId="{994E1864-8DD7-4CB3-8BE3-09847460054B}" srcId="{8AB7B740-2FCF-41F4-8F8F-B79A4910E179}" destId="{9C0A898C-7599-407D-AB47-889B5B5FF522}" srcOrd="6" destOrd="0" parTransId="{8B4DC865-C4B4-424C-93F3-649728C2EDA2}" sibTransId="{9466028C-5D8D-454F-A4E3-ACBDBAF2DB4D}"/>
    <dgm:cxn modelId="{3C2281FF-57CC-4B00-9BC6-263EB8AEFB86}" type="presOf" srcId="{C1C4BFAC-ADAC-45AB-B83B-2D5AC03C4849}" destId="{DA29E00A-784B-4BA4-B22F-7428E659AC8B}" srcOrd="0" destOrd="0" presId="urn:microsoft.com/office/officeart/2005/8/layout/bProcess4"/>
    <dgm:cxn modelId="{1973CB9C-17C3-45A0-AEA3-FDAD7D2D82F5}" type="presOf" srcId="{B5DF12CB-8AC8-4F54-A1F6-B605C6DB0459}" destId="{31563D53-AB32-4553-B7CA-ECDDC79D4D61}" srcOrd="0" destOrd="0" presId="urn:microsoft.com/office/officeart/2005/8/layout/bProcess4"/>
    <dgm:cxn modelId="{C3C5B529-D62E-4906-B43C-2D6CD56663B7}" srcId="{8AB7B740-2FCF-41F4-8F8F-B79A4910E179}" destId="{71B17B73-1D36-4EF1-9320-484497BA3FFE}" srcOrd="5" destOrd="0" parTransId="{0CD5AA5A-EF65-4C74-AD5A-E6B90E1BDBE0}" sibTransId="{590564E6-2EE8-4BC9-85CE-13E83AB7DE08}"/>
    <dgm:cxn modelId="{2472871D-72A2-47C5-8EF5-2762814A18E1}" type="presOf" srcId="{D27F9854-E45C-4F63-B1ED-B1FF07F56990}" destId="{8C194130-1A46-47C4-8750-946FDD03AF05}" srcOrd="0" destOrd="0" presId="urn:microsoft.com/office/officeart/2005/8/layout/bProcess4"/>
    <dgm:cxn modelId="{8080D497-6747-4802-A9D0-061C314E32E3}" type="presOf" srcId="{2C36B3AC-89AB-4C23-BF9D-8A80A74E25EC}" destId="{A46ED99A-7F5F-40D4-A771-A5A6DDE3DAA3}" srcOrd="0" destOrd="0" presId="urn:microsoft.com/office/officeart/2005/8/layout/bProcess4"/>
    <dgm:cxn modelId="{8751E2D2-FB61-47B2-BBC4-DA7EC431E59D}" srcId="{8AB7B740-2FCF-41F4-8F8F-B79A4910E179}" destId="{C1C4BFAC-ADAC-45AB-B83B-2D5AC03C4849}" srcOrd="4" destOrd="0" parTransId="{DD6D8A11-BAD6-4F93-80FB-B7658DFA41C1}" sibTransId="{DA674760-1A95-477C-9D4E-6346E96BAB63}"/>
    <dgm:cxn modelId="{AB7E47E6-9540-4F68-847F-5A529125C6E4}" type="presOf" srcId="{E3AC2CD9-9F16-484A-A527-8620CDC67D2B}" destId="{D45FC5D4-301B-4B83-9C3C-46C9AEADE4A9}" srcOrd="0" destOrd="0" presId="urn:microsoft.com/office/officeart/2005/8/layout/bProcess4"/>
    <dgm:cxn modelId="{7C11A113-48DD-4162-AADD-7044EEB884B2}" type="presOf" srcId="{9466028C-5D8D-454F-A4E3-ACBDBAF2DB4D}" destId="{FC12D61A-6B5B-485C-BA12-D6B11E3C54E9}" srcOrd="0" destOrd="0" presId="urn:microsoft.com/office/officeart/2005/8/layout/bProcess4"/>
    <dgm:cxn modelId="{24337A11-ADEE-4EA0-BFBD-47E242EFDB92}" type="presOf" srcId="{71B17B73-1D36-4EF1-9320-484497BA3FFE}" destId="{E038CD2C-A8A1-40AC-8FAD-7515E38096FE}" srcOrd="0" destOrd="0" presId="urn:microsoft.com/office/officeart/2005/8/layout/bProcess4"/>
    <dgm:cxn modelId="{97C1798C-1E9C-41D4-A63B-B0A9AC482D5E}" srcId="{8AB7B740-2FCF-41F4-8F8F-B79A4910E179}" destId="{9A4324B9-E3F7-4103-A93E-561D5AABCA67}" srcOrd="7" destOrd="0" parTransId="{7D89204D-6021-4EE8-AE8C-6F313AF84D2A}" sibTransId="{F9306529-6E8E-4E8E-887D-36DC0D0F3C96}"/>
    <dgm:cxn modelId="{DD357E42-5D76-4967-BA90-F09D1BB07C1A}" srcId="{8AB7B740-2FCF-41F4-8F8F-B79A4910E179}" destId="{2C36B3AC-89AB-4C23-BF9D-8A80A74E25EC}" srcOrd="3" destOrd="0" parTransId="{3D362CD4-51EB-4ECE-991A-A8E8C456E5AD}" sibTransId="{5C399937-CB15-42E1-A6E5-7EA2E8BEC34C}"/>
    <dgm:cxn modelId="{98951613-034C-4E25-9BAB-439C51629EFF}" type="presOf" srcId="{31BA7832-7DF1-48FB-A297-D4556CC7DFBF}" destId="{45B041D4-1B0C-4D23-BFCB-F7F38E08ED6B}" srcOrd="0" destOrd="0" presId="urn:microsoft.com/office/officeart/2005/8/layout/bProcess4"/>
    <dgm:cxn modelId="{1E263725-B44B-4CC0-99F5-ED5E318C8231}" type="presOf" srcId="{8AB7B740-2FCF-41F4-8F8F-B79A4910E179}" destId="{E17651F7-CFA2-4303-AC51-88A4616404A2}" srcOrd="0" destOrd="0" presId="urn:microsoft.com/office/officeart/2005/8/layout/bProcess4"/>
    <dgm:cxn modelId="{E8D873EF-2030-487C-97F4-28FA28DF1B72}" srcId="{8AB7B740-2FCF-41F4-8F8F-B79A4910E179}" destId="{5B59BFC3-ED28-4D22-8D94-CEE593D176C3}" srcOrd="8" destOrd="0" parTransId="{18ED1DED-1FCE-4174-B55F-72465D14BEEB}" sibTransId="{F6025F79-517A-402E-9984-4B2692B81637}"/>
    <dgm:cxn modelId="{0B547F3C-1BD8-41FD-A3C2-7C62F728A569}" type="presOf" srcId="{3374C7F2-B539-4AA1-90FF-A974EBEE6F10}" destId="{D43C587A-5728-4A92-80A0-DC116A60ED1A}" srcOrd="0" destOrd="0" presId="urn:microsoft.com/office/officeart/2005/8/layout/bProcess4"/>
    <dgm:cxn modelId="{CBF3F71A-DB9A-49E1-A515-0BD70C336310}" type="presOf" srcId="{7FB6BE82-C7E6-477C-A7A1-948E5C48C329}" destId="{EBDEE11E-E5D0-481A-999D-1C7C376F6E0C}" srcOrd="0" destOrd="0" presId="urn:microsoft.com/office/officeart/2005/8/layout/bProcess4"/>
    <dgm:cxn modelId="{DA53748A-7112-43F4-A441-830A8CA6EB4E}" srcId="{8AB7B740-2FCF-41F4-8F8F-B79A4910E179}" destId="{EC333AF2-851A-4BB0-B748-C85E46228C90}" srcOrd="1" destOrd="0" parTransId="{A8ED821F-FF8A-4554-92F6-5DB2BDDE60F5}" sibTransId="{99741297-A01E-48CA-B0ED-C482DF56EAAE}"/>
    <dgm:cxn modelId="{DCDD88A8-B715-4358-8D77-79F97DA293C7}" srcId="{8AB7B740-2FCF-41F4-8F8F-B79A4910E179}" destId="{D27F9854-E45C-4F63-B1ED-B1FF07F56990}" srcOrd="10" destOrd="0" parTransId="{A5FF3088-952E-4764-BE28-E493EC681B27}" sibTransId="{EF753369-94FE-406F-9C15-C3D6FE405BB5}"/>
    <dgm:cxn modelId="{FE2C0BB4-8B0A-4CE3-9619-0F61C84E4286}" srcId="{8AB7B740-2FCF-41F4-8F8F-B79A4910E179}" destId="{516B93B4-DA9C-44A7-BD7E-D6D0AE68776A}" srcOrd="2" destOrd="0" parTransId="{BEEA4B23-B89A-4D28-9885-62AB69C618C3}" sibTransId="{B5DF12CB-8AC8-4F54-A1F6-B605C6DB0459}"/>
    <dgm:cxn modelId="{3BB69EE5-DF47-40C5-8AD1-6A136E2AF1C6}" srcId="{8AB7B740-2FCF-41F4-8F8F-B79A4910E179}" destId="{E3AC2CD9-9F16-484A-A527-8620CDC67D2B}" srcOrd="0" destOrd="0" parTransId="{7DA1BAE5-4603-43AA-A58F-D6BEFC8F1010}" sibTransId="{3374C7F2-B539-4AA1-90FF-A974EBEE6F10}"/>
    <dgm:cxn modelId="{6589425E-1096-4DE3-89B3-FABB6E079825}" type="presOf" srcId="{9C0A898C-7599-407D-AB47-889B5B5FF522}" destId="{37739627-B4A1-4263-8975-DF072C5DA3A1}" srcOrd="0" destOrd="0" presId="urn:microsoft.com/office/officeart/2005/8/layout/bProcess4"/>
    <dgm:cxn modelId="{BC04EFC6-3411-48CF-B1C1-E84794E14423}" type="presOf" srcId="{9A4324B9-E3F7-4103-A93E-561D5AABCA67}" destId="{0E7715F1-75C4-4271-B4F6-8DE0E62B4E78}" srcOrd="0" destOrd="0" presId="urn:microsoft.com/office/officeart/2005/8/layout/bProcess4"/>
    <dgm:cxn modelId="{22CF3465-DFA0-4655-A5E3-90AE8C9DA07B}" srcId="{8AB7B740-2FCF-41F4-8F8F-B79A4910E179}" destId="{7FB6BE82-C7E6-477C-A7A1-948E5C48C329}" srcOrd="9" destOrd="0" parTransId="{EA54B6DB-C8AF-4796-AE73-6F0021D5CD73}" sibTransId="{31BA7832-7DF1-48FB-A297-D4556CC7DFBF}"/>
    <dgm:cxn modelId="{BF8DEBC2-D186-4D8F-AE80-CD4B413FC84B}" type="presParOf" srcId="{E17651F7-CFA2-4303-AC51-88A4616404A2}" destId="{37FB6BDB-077F-4AF7-A339-5DBC0AB4DCAF}" srcOrd="0" destOrd="0" presId="urn:microsoft.com/office/officeart/2005/8/layout/bProcess4"/>
    <dgm:cxn modelId="{3E946833-9D08-4EA4-A326-46DA4E258290}" type="presParOf" srcId="{37FB6BDB-077F-4AF7-A339-5DBC0AB4DCAF}" destId="{E5B7A238-A491-4B00-8292-D9CF22F2FE33}" srcOrd="0" destOrd="0" presId="urn:microsoft.com/office/officeart/2005/8/layout/bProcess4"/>
    <dgm:cxn modelId="{F7417A4A-DBB8-4FF9-B5B9-D87B1EAB909C}" type="presParOf" srcId="{37FB6BDB-077F-4AF7-A339-5DBC0AB4DCAF}" destId="{D45FC5D4-301B-4B83-9C3C-46C9AEADE4A9}" srcOrd="1" destOrd="0" presId="urn:microsoft.com/office/officeart/2005/8/layout/bProcess4"/>
    <dgm:cxn modelId="{463FDE3B-A201-4F5C-9306-F5EF6A8F860D}" type="presParOf" srcId="{E17651F7-CFA2-4303-AC51-88A4616404A2}" destId="{D43C587A-5728-4A92-80A0-DC116A60ED1A}" srcOrd="1" destOrd="0" presId="urn:microsoft.com/office/officeart/2005/8/layout/bProcess4"/>
    <dgm:cxn modelId="{7D937C87-856E-42A0-8E6D-E2CA8B58C3E1}" type="presParOf" srcId="{E17651F7-CFA2-4303-AC51-88A4616404A2}" destId="{AE5798B6-483A-43FA-B7DB-393329607551}" srcOrd="2" destOrd="0" presId="urn:microsoft.com/office/officeart/2005/8/layout/bProcess4"/>
    <dgm:cxn modelId="{23575FB3-B76F-492B-9018-50E018DC0F02}" type="presParOf" srcId="{AE5798B6-483A-43FA-B7DB-393329607551}" destId="{2D0769E2-6FAC-4BBB-95B1-467565DB6B2D}" srcOrd="0" destOrd="0" presId="urn:microsoft.com/office/officeart/2005/8/layout/bProcess4"/>
    <dgm:cxn modelId="{75BFE45A-81AE-4A8D-A478-11C25E5689C4}" type="presParOf" srcId="{AE5798B6-483A-43FA-B7DB-393329607551}" destId="{EAF5452F-346C-4AC7-BF6E-E9845B7CC7F2}" srcOrd="1" destOrd="0" presId="urn:microsoft.com/office/officeart/2005/8/layout/bProcess4"/>
    <dgm:cxn modelId="{56BD0FA3-08D2-4B1E-B3B9-79DD5A34C9E2}" type="presParOf" srcId="{E17651F7-CFA2-4303-AC51-88A4616404A2}" destId="{E49FB858-64FC-4F86-B0F1-1F3EE976C931}" srcOrd="3" destOrd="0" presId="urn:microsoft.com/office/officeart/2005/8/layout/bProcess4"/>
    <dgm:cxn modelId="{F1D146D3-BEBC-4804-9D05-EC791E94126D}" type="presParOf" srcId="{E17651F7-CFA2-4303-AC51-88A4616404A2}" destId="{0F22201C-2AE8-42A2-B378-7584CAD39464}" srcOrd="4" destOrd="0" presId="urn:microsoft.com/office/officeart/2005/8/layout/bProcess4"/>
    <dgm:cxn modelId="{F2FE0F44-9AFC-473F-9645-426B98ABCDB1}" type="presParOf" srcId="{0F22201C-2AE8-42A2-B378-7584CAD39464}" destId="{6CEA4ACB-6948-4AF2-BED1-F6575927D0BA}" srcOrd="0" destOrd="0" presId="urn:microsoft.com/office/officeart/2005/8/layout/bProcess4"/>
    <dgm:cxn modelId="{45F19EB9-70B7-4F19-911D-0E62919EAEB0}" type="presParOf" srcId="{0F22201C-2AE8-42A2-B378-7584CAD39464}" destId="{A122D57A-F75C-4124-8B9A-ED8FADAD85C3}" srcOrd="1" destOrd="0" presId="urn:microsoft.com/office/officeart/2005/8/layout/bProcess4"/>
    <dgm:cxn modelId="{5B07E036-21D3-416F-8D0C-BD0E8C685821}" type="presParOf" srcId="{E17651F7-CFA2-4303-AC51-88A4616404A2}" destId="{31563D53-AB32-4553-B7CA-ECDDC79D4D61}" srcOrd="5" destOrd="0" presId="urn:microsoft.com/office/officeart/2005/8/layout/bProcess4"/>
    <dgm:cxn modelId="{9588825C-6B5F-4B78-BFEB-858C4740F0B6}" type="presParOf" srcId="{E17651F7-CFA2-4303-AC51-88A4616404A2}" destId="{D2DAED5E-8F6C-4834-9980-BDC17DD36240}" srcOrd="6" destOrd="0" presId="urn:microsoft.com/office/officeart/2005/8/layout/bProcess4"/>
    <dgm:cxn modelId="{A99E5004-91EF-4BF8-A0FC-3AD225022E26}" type="presParOf" srcId="{D2DAED5E-8F6C-4834-9980-BDC17DD36240}" destId="{5BE528E5-41E2-4795-AA9B-05A8E35318F0}" srcOrd="0" destOrd="0" presId="urn:microsoft.com/office/officeart/2005/8/layout/bProcess4"/>
    <dgm:cxn modelId="{E7845359-9702-41D0-9E08-D0BFA97EB0B9}" type="presParOf" srcId="{D2DAED5E-8F6C-4834-9980-BDC17DD36240}" destId="{A46ED99A-7F5F-40D4-A771-A5A6DDE3DAA3}" srcOrd="1" destOrd="0" presId="urn:microsoft.com/office/officeart/2005/8/layout/bProcess4"/>
    <dgm:cxn modelId="{0BCE0F7A-AFA3-488F-A94E-BD76C9813D8D}" type="presParOf" srcId="{E17651F7-CFA2-4303-AC51-88A4616404A2}" destId="{3A59E2CC-4CF4-4E8A-B4B6-4F3D92F8627D}" srcOrd="7" destOrd="0" presId="urn:microsoft.com/office/officeart/2005/8/layout/bProcess4"/>
    <dgm:cxn modelId="{1858D832-9AAB-4370-B2C2-49DB86FA896F}" type="presParOf" srcId="{E17651F7-CFA2-4303-AC51-88A4616404A2}" destId="{0B3E228E-8EFD-48B0-9A80-5F1D446E8A01}" srcOrd="8" destOrd="0" presId="urn:microsoft.com/office/officeart/2005/8/layout/bProcess4"/>
    <dgm:cxn modelId="{3A73651A-E9B8-4FF6-A274-A54D22A99918}" type="presParOf" srcId="{0B3E228E-8EFD-48B0-9A80-5F1D446E8A01}" destId="{45C6FDC3-34A5-4CAF-9CEB-5FE6E4526A24}" srcOrd="0" destOrd="0" presId="urn:microsoft.com/office/officeart/2005/8/layout/bProcess4"/>
    <dgm:cxn modelId="{F619944A-66F9-448B-9E21-4FA0220CE816}" type="presParOf" srcId="{0B3E228E-8EFD-48B0-9A80-5F1D446E8A01}" destId="{DA29E00A-784B-4BA4-B22F-7428E659AC8B}" srcOrd="1" destOrd="0" presId="urn:microsoft.com/office/officeart/2005/8/layout/bProcess4"/>
    <dgm:cxn modelId="{8FDC7992-5049-414E-AA8B-2C328D87FE48}" type="presParOf" srcId="{E17651F7-CFA2-4303-AC51-88A4616404A2}" destId="{9B9B03EF-05DB-4F09-BA0E-A0D4030923D9}" srcOrd="9" destOrd="0" presId="urn:microsoft.com/office/officeart/2005/8/layout/bProcess4"/>
    <dgm:cxn modelId="{B42E8AD6-1735-4927-B752-40D4A04D7EF3}" type="presParOf" srcId="{E17651F7-CFA2-4303-AC51-88A4616404A2}" destId="{D43E516C-C05B-49CC-9D3D-1547E0C8C072}" srcOrd="10" destOrd="0" presId="urn:microsoft.com/office/officeart/2005/8/layout/bProcess4"/>
    <dgm:cxn modelId="{4FEB6B83-D09F-488C-9CFE-866817356099}" type="presParOf" srcId="{D43E516C-C05B-49CC-9D3D-1547E0C8C072}" destId="{47D2F857-1B33-43A0-8392-4C432BBB66E7}" srcOrd="0" destOrd="0" presId="urn:microsoft.com/office/officeart/2005/8/layout/bProcess4"/>
    <dgm:cxn modelId="{60DAAC52-8BAF-4283-BC1C-9890B612A84E}" type="presParOf" srcId="{D43E516C-C05B-49CC-9D3D-1547E0C8C072}" destId="{E038CD2C-A8A1-40AC-8FAD-7515E38096FE}" srcOrd="1" destOrd="0" presId="urn:microsoft.com/office/officeart/2005/8/layout/bProcess4"/>
    <dgm:cxn modelId="{69147A83-76F7-4405-A5A2-66BAF897EDDA}" type="presParOf" srcId="{E17651F7-CFA2-4303-AC51-88A4616404A2}" destId="{4C9D5939-25EB-4842-955C-354B57BA0CDE}" srcOrd="11" destOrd="0" presId="urn:microsoft.com/office/officeart/2005/8/layout/bProcess4"/>
    <dgm:cxn modelId="{D600800E-D1FB-4846-A10A-3E40B1011DD0}" type="presParOf" srcId="{E17651F7-CFA2-4303-AC51-88A4616404A2}" destId="{C1AB1A21-2F60-4907-8E80-C83ACE690B33}" srcOrd="12" destOrd="0" presId="urn:microsoft.com/office/officeart/2005/8/layout/bProcess4"/>
    <dgm:cxn modelId="{8D9489AA-ADB7-4A34-BF5C-E1233205A6B0}" type="presParOf" srcId="{C1AB1A21-2F60-4907-8E80-C83ACE690B33}" destId="{A35DBA92-F3EB-4C0F-8724-3DB8D9C88FE5}" srcOrd="0" destOrd="0" presId="urn:microsoft.com/office/officeart/2005/8/layout/bProcess4"/>
    <dgm:cxn modelId="{E7602FD2-BB1E-4808-A076-75E1C8FDE17D}" type="presParOf" srcId="{C1AB1A21-2F60-4907-8E80-C83ACE690B33}" destId="{37739627-B4A1-4263-8975-DF072C5DA3A1}" srcOrd="1" destOrd="0" presId="urn:microsoft.com/office/officeart/2005/8/layout/bProcess4"/>
    <dgm:cxn modelId="{9C236198-446A-4EB6-93F9-85F03463A8C3}" type="presParOf" srcId="{E17651F7-CFA2-4303-AC51-88A4616404A2}" destId="{FC12D61A-6B5B-485C-BA12-D6B11E3C54E9}" srcOrd="13" destOrd="0" presId="urn:microsoft.com/office/officeart/2005/8/layout/bProcess4"/>
    <dgm:cxn modelId="{A61828A6-A6DA-40A7-AEAE-98CE90E9DA54}" type="presParOf" srcId="{E17651F7-CFA2-4303-AC51-88A4616404A2}" destId="{D87CCC5D-4A54-4F83-B460-C068E5BA1518}" srcOrd="14" destOrd="0" presId="urn:microsoft.com/office/officeart/2005/8/layout/bProcess4"/>
    <dgm:cxn modelId="{E20DC8CE-DD6F-41AA-85E9-9E65CDD02422}" type="presParOf" srcId="{D87CCC5D-4A54-4F83-B460-C068E5BA1518}" destId="{0622D93D-AC5C-433C-98E8-BB5D2D85C00B}" srcOrd="0" destOrd="0" presId="urn:microsoft.com/office/officeart/2005/8/layout/bProcess4"/>
    <dgm:cxn modelId="{1F62526F-F389-40E6-B907-021905641D48}" type="presParOf" srcId="{D87CCC5D-4A54-4F83-B460-C068E5BA1518}" destId="{0E7715F1-75C4-4271-B4F6-8DE0E62B4E78}" srcOrd="1" destOrd="0" presId="urn:microsoft.com/office/officeart/2005/8/layout/bProcess4"/>
    <dgm:cxn modelId="{704D5575-99F5-4F16-A1B3-125B7A03D721}" type="presParOf" srcId="{E17651F7-CFA2-4303-AC51-88A4616404A2}" destId="{795B6CC0-8EC3-4669-9875-974D5816574A}" srcOrd="15" destOrd="0" presId="urn:microsoft.com/office/officeart/2005/8/layout/bProcess4"/>
    <dgm:cxn modelId="{58AA5D45-0F21-4F15-B54E-C5E6DFF530A7}" type="presParOf" srcId="{E17651F7-CFA2-4303-AC51-88A4616404A2}" destId="{7061E214-D7C2-4CE7-A814-7CED05564DC7}" srcOrd="16" destOrd="0" presId="urn:microsoft.com/office/officeart/2005/8/layout/bProcess4"/>
    <dgm:cxn modelId="{9301A25C-563F-451C-804A-B7F14B90C945}" type="presParOf" srcId="{7061E214-D7C2-4CE7-A814-7CED05564DC7}" destId="{122C3B17-5903-44D5-8E83-45536CB9FEF8}" srcOrd="0" destOrd="0" presId="urn:microsoft.com/office/officeart/2005/8/layout/bProcess4"/>
    <dgm:cxn modelId="{0998CA56-25DA-43A9-AA94-2E3366BA48E6}" type="presParOf" srcId="{7061E214-D7C2-4CE7-A814-7CED05564DC7}" destId="{1A710EDB-3D22-4A7F-8F91-AFA2C70F629E}" srcOrd="1" destOrd="0" presId="urn:microsoft.com/office/officeart/2005/8/layout/bProcess4"/>
    <dgm:cxn modelId="{D3DCEA08-4ECE-4662-9DD8-AD1B933CDE77}" type="presParOf" srcId="{E17651F7-CFA2-4303-AC51-88A4616404A2}" destId="{0CD466EC-0AC3-449C-925A-B0243D0D4864}" srcOrd="17" destOrd="0" presId="urn:microsoft.com/office/officeart/2005/8/layout/bProcess4"/>
    <dgm:cxn modelId="{347E8DC7-B627-45C5-8C74-2EBDCE34E66C}" type="presParOf" srcId="{E17651F7-CFA2-4303-AC51-88A4616404A2}" destId="{E2426E4A-B2C0-4E7E-99C7-72CB7C52ABE8}" srcOrd="18" destOrd="0" presId="urn:microsoft.com/office/officeart/2005/8/layout/bProcess4"/>
    <dgm:cxn modelId="{D1B6E1FD-AE33-49BE-850A-9CB3CF15FAB1}" type="presParOf" srcId="{E2426E4A-B2C0-4E7E-99C7-72CB7C52ABE8}" destId="{954FFB0E-6057-4A4B-9C6F-29AACAA6C8D7}" srcOrd="0" destOrd="0" presId="urn:microsoft.com/office/officeart/2005/8/layout/bProcess4"/>
    <dgm:cxn modelId="{5F89106B-7CB9-441B-8C05-7B6438D145CD}" type="presParOf" srcId="{E2426E4A-B2C0-4E7E-99C7-72CB7C52ABE8}" destId="{EBDEE11E-E5D0-481A-999D-1C7C376F6E0C}" srcOrd="1" destOrd="0" presId="urn:microsoft.com/office/officeart/2005/8/layout/bProcess4"/>
    <dgm:cxn modelId="{679E236D-B476-45E5-8F56-E8D3C5E2C19E}" type="presParOf" srcId="{E17651F7-CFA2-4303-AC51-88A4616404A2}" destId="{45B041D4-1B0C-4D23-BFCB-F7F38E08ED6B}" srcOrd="19" destOrd="0" presId="urn:microsoft.com/office/officeart/2005/8/layout/bProcess4"/>
    <dgm:cxn modelId="{F3C03D44-BA07-4962-A414-E8386E911418}" type="presParOf" srcId="{E17651F7-CFA2-4303-AC51-88A4616404A2}" destId="{BAAC988A-6D3D-4CEF-B8B7-ECCCF9A2190A}" srcOrd="20" destOrd="0" presId="urn:microsoft.com/office/officeart/2005/8/layout/bProcess4"/>
    <dgm:cxn modelId="{04D6A384-ABBB-40B5-B4F9-902B5D924AA6}" type="presParOf" srcId="{BAAC988A-6D3D-4CEF-B8B7-ECCCF9A2190A}" destId="{17B9A074-CC18-497C-BEAE-0E25D09E5F01}" srcOrd="0" destOrd="0" presId="urn:microsoft.com/office/officeart/2005/8/layout/bProcess4"/>
    <dgm:cxn modelId="{44D49B14-1350-4931-BFDA-CF328CEF3D2D}" type="presParOf" srcId="{BAAC988A-6D3D-4CEF-B8B7-ECCCF9A2190A}" destId="{8C194130-1A46-47C4-8750-946FDD03AF05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8/layout/LinedLis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D4CAC81-4620-4B64-B23B-B5AD829B36D1}">
      <dgm:prSet phldrT="[Текст]" custT="1"/>
      <dgm:spPr/>
      <dgm:t>
        <a:bodyPr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u="sng" dirty="0" smtClean="0"/>
            <a:t>Оформление Описания достижений претендента</a:t>
          </a:r>
          <a:endParaRPr lang="ru-RU" sz="1400" u="sng" dirty="0"/>
        </a:p>
      </dgm:t>
    </dgm:pt>
    <dgm:pt modelId="{E44D1B61-EBC8-4CE2-856E-F24696AECE6D}" type="parTrans" cxnId="{F50E15A7-C9BD-495F-B92D-D70F7EF0CE1C}">
      <dgm:prSet/>
      <dgm:spPr/>
      <dgm:t>
        <a:bodyPr/>
        <a:lstStyle/>
        <a:p>
          <a:endParaRPr lang="ru-RU"/>
        </a:p>
      </dgm:t>
    </dgm:pt>
    <dgm:pt modelId="{6BDB0380-F19A-466C-8B69-6E7EC467D11E}" type="sibTrans" cxnId="{F50E15A7-C9BD-495F-B92D-D70F7EF0CE1C}">
      <dgm:prSet/>
      <dgm:spPr/>
      <dgm:t>
        <a:bodyPr/>
        <a:lstStyle/>
        <a:p>
          <a:endParaRPr lang="ru-RU"/>
        </a:p>
      </dgm:t>
    </dgm:pt>
    <dgm:pt modelId="{F7FBCB7C-423C-4592-8A4E-B7A9EE15A841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Формы установлены Положением для каждого вида именной стипендии (приложения к формам 1 – 6 списков претендентов в Приложении 1 к Положению). </a:t>
          </a:r>
          <a:endParaRPr lang="ru-RU" sz="1600" u="none" dirty="0"/>
        </a:p>
      </dgm:t>
    </dgm:pt>
    <dgm:pt modelId="{231D212C-BB27-4D58-A8F6-EEE668234B42}" type="parTrans" cxnId="{43131437-05D5-42AA-BA2D-E3B087221DE3}">
      <dgm:prSet/>
      <dgm:spPr/>
      <dgm:t>
        <a:bodyPr/>
        <a:lstStyle/>
        <a:p>
          <a:endParaRPr lang="ru-RU"/>
        </a:p>
      </dgm:t>
    </dgm:pt>
    <dgm:pt modelId="{F9F37F37-6DA1-47DF-AC95-73C096CC4897}" type="sibTrans" cxnId="{43131437-05D5-42AA-BA2D-E3B087221DE3}">
      <dgm:prSet/>
      <dgm:spPr/>
      <dgm:t>
        <a:bodyPr/>
        <a:lstStyle/>
        <a:p>
          <a:endParaRPr lang="ru-RU"/>
        </a:p>
      </dgm:t>
    </dgm:pt>
    <dgm:pt modelId="{F1616B7A-676F-44EA-93FF-74C18E128650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Заполняется претендентом лично с использованием средств печатного набора текста.</a:t>
          </a:r>
        </a:p>
      </dgm:t>
    </dgm:pt>
    <dgm:pt modelId="{E86DD9CC-FFDF-4736-B9D6-6F0A269B4126}" type="parTrans" cxnId="{ED8F88A5-1339-469F-B666-C400347267F3}">
      <dgm:prSet/>
      <dgm:spPr/>
      <dgm:t>
        <a:bodyPr/>
        <a:lstStyle/>
        <a:p>
          <a:endParaRPr lang="ru-RU"/>
        </a:p>
      </dgm:t>
    </dgm:pt>
    <dgm:pt modelId="{3C0BED08-E52D-4297-9B24-2D3167E8D5E8}" type="sibTrans" cxnId="{ED8F88A5-1339-469F-B666-C400347267F3}">
      <dgm:prSet/>
      <dgm:spPr/>
      <dgm:t>
        <a:bodyPr/>
        <a:lstStyle/>
        <a:p>
          <a:endParaRPr lang="ru-RU"/>
        </a:p>
      </dgm:t>
    </dgm:pt>
    <dgm:pt modelId="{C199DD01-3505-4314-87D6-C365A1440477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Указываются достижения, полученные в период с 01 сентября 2016 года по 31 августа 2017 года и подтвержденные документально.</a:t>
          </a:r>
          <a:endParaRPr lang="ru-RU" sz="1600" u="none" dirty="0"/>
        </a:p>
      </dgm:t>
    </dgm:pt>
    <dgm:pt modelId="{95413EF6-D575-4547-B155-6FC3695BC242}" type="parTrans" cxnId="{17E745BC-4E12-4684-82F1-546C5427AE24}">
      <dgm:prSet/>
      <dgm:spPr/>
      <dgm:t>
        <a:bodyPr/>
        <a:lstStyle/>
        <a:p>
          <a:endParaRPr lang="ru-RU"/>
        </a:p>
      </dgm:t>
    </dgm:pt>
    <dgm:pt modelId="{FEF68BD0-5788-48CA-BC04-7748E0AFAB91}" type="sibTrans" cxnId="{17E745BC-4E12-4684-82F1-546C5427AE24}">
      <dgm:prSet/>
      <dgm:spPr/>
      <dgm:t>
        <a:bodyPr/>
        <a:lstStyle/>
        <a:p>
          <a:endParaRPr lang="ru-RU"/>
        </a:p>
      </dgm:t>
    </dgm:pt>
    <dgm:pt modelId="{1509EBDB-FFCF-4A57-888D-4A18ACCA905F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Подписывается лично претендентом с указанием даты представления в организацию.</a:t>
          </a:r>
          <a:endParaRPr lang="ru-RU" sz="1600" u="none" dirty="0"/>
        </a:p>
      </dgm:t>
    </dgm:pt>
    <dgm:pt modelId="{521AB579-CB72-4A29-87C7-3E95FE498B9B}" type="parTrans" cxnId="{F852B4B4-9763-4FA1-AA0D-6563052BF1CF}">
      <dgm:prSet/>
      <dgm:spPr/>
      <dgm:t>
        <a:bodyPr/>
        <a:lstStyle/>
        <a:p>
          <a:endParaRPr lang="ru-RU"/>
        </a:p>
      </dgm:t>
    </dgm:pt>
    <dgm:pt modelId="{D0090007-CAE8-4699-8884-88450A25F9AD}" type="sibTrans" cxnId="{F852B4B4-9763-4FA1-AA0D-6563052BF1CF}">
      <dgm:prSet/>
      <dgm:spPr/>
      <dgm:t>
        <a:bodyPr/>
        <a:lstStyle/>
        <a:p>
          <a:endParaRPr lang="ru-RU"/>
        </a:p>
      </dgm:t>
    </dgm:pt>
    <dgm:pt modelId="{EA622906-8FC1-4577-AAAC-BEF9B77E0E05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Информация заполняется в </a:t>
          </a:r>
          <a:r>
            <a:rPr lang="ru-RU" sz="1600" u="none" dirty="0" smtClean="0"/>
            <a:t>последовательности позиций, </a:t>
          </a:r>
          <a:r>
            <a:rPr lang="ru-RU" sz="1600" u="none" dirty="0" smtClean="0"/>
            <a:t>определенной в </a:t>
          </a:r>
          <a:r>
            <a:rPr lang="ru-RU" sz="1600" u="none" dirty="0" smtClean="0"/>
            <a:t>подстрочниках, </a:t>
          </a:r>
          <a:r>
            <a:rPr lang="ru-RU" sz="1600" u="none" dirty="0" smtClean="0"/>
            <a:t>в строгом соответствии с материалами, подтверждающими достижения. Сокращения и использование обозначений не допускается.</a:t>
          </a:r>
        </a:p>
      </dgm:t>
    </dgm:pt>
    <dgm:pt modelId="{70D8E46E-974D-4D03-9B87-7D8815356F50}" type="parTrans" cxnId="{76B22CDE-4C1D-4D95-9D59-B05C846BE142}">
      <dgm:prSet/>
      <dgm:spPr/>
      <dgm:t>
        <a:bodyPr/>
        <a:lstStyle/>
        <a:p>
          <a:endParaRPr lang="ru-RU"/>
        </a:p>
      </dgm:t>
    </dgm:pt>
    <dgm:pt modelId="{5C40DAE4-D907-443F-9F2D-0E396FC632B6}" type="sibTrans" cxnId="{76B22CDE-4C1D-4D95-9D59-B05C846BE142}">
      <dgm:prSet/>
      <dgm:spPr/>
      <dgm:t>
        <a:bodyPr/>
        <a:lstStyle/>
        <a:p>
          <a:endParaRPr lang="ru-RU"/>
        </a:p>
      </dgm:t>
    </dgm:pt>
    <dgm:pt modelId="{09CDCA86-CD3F-411D-9BBD-90865ACA229E}">
      <dgm:prSet phldrT="[Текст]" custT="1"/>
      <dgm:spPr/>
      <dgm:t>
        <a:bodyPr/>
        <a:lstStyle/>
        <a:p>
          <a:pPr algn="just">
            <a:lnSpc>
              <a:spcPct val="100000"/>
            </a:lnSpc>
            <a:spcAft>
              <a:spcPts val="600"/>
            </a:spcAft>
          </a:pPr>
          <a:r>
            <a:rPr lang="ru-RU" sz="1600" u="none" dirty="0" smtClean="0"/>
            <a:t>К Описанию достижений прилагаются материалы, их подтверждающие.</a:t>
          </a:r>
          <a:endParaRPr lang="ru-RU" sz="1600" u="none" dirty="0"/>
        </a:p>
      </dgm:t>
    </dgm:pt>
    <dgm:pt modelId="{3FF98FF6-4117-41AD-BB1F-4700670767F1}" type="parTrans" cxnId="{9CC6E2E0-E08B-4B29-BD6B-4A0F67616113}">
      <dgm:prSet/>
      <dgm:spPr/>
    </dgm:pt>
    <dgm:pt modelId="{35DCAD1F-0BD2-4272-A703-436DA1EE87EF}" type="sibTrans" cxnId="{9CC6E2E0-E08B-4B29-BD6B-4A0F67616113}">
      <dgm:prSet/>
      <dgm:spPr/>
    </dgm:pt>
    <dgm:pt modelId="{F7863F82-7226-4DC8-882C-124BB0CC85CA}" type="pres">
      <dgm:prSet presAssocID="{B6E487E3-D46A-4417-B7A6-9FE91C097C6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EF7DBB1-0CCC-4EFC-9849-85DEDE265689}" type="pres">
      <dgm:prSet presAssocID="{ED4CAC81-4620-4B64-B23B-B5AD829B36D1}" presName="thickLine" presStyleLbl="alignNode1" presStyleIdx="0" presStyleCnt="1"/>
      <dgm:spPr/>
    </dgm:pt>
    <dgm:pt modelId="{AAEBF1A5-C4E5-4A78-BED8-06FC43879A58}" type="pres">
      <dgm:prSet presAssocID="{ED4CAC81-4620-4B64-B23B-B5AD829B36D1}" presName="horz1" presStyleCnt="0"/>
      <dgm:spPr/>
    </dgm:pt>
    <dgm:pt modelId="{348B1953-BA0E-4E5E-BBE3-229A9227FDFC}" type="pres">
      <dgm:prSet presAssocID="{ED4CAC81-4620-4B64-B23B-B5AD829B36D1}" presName="tx1" presStyleLbl="revTx" presStyleIdx="0" presStyleCnt="7"/>
      <dgm:spPr/>
      <dgm:t>
        <a:bodyPr/>
        <a:lstStyle/>
        <a:p>
          <a:endParaRPr lang="ru-RU"/>
        </a:p>
      </dgm:t>
    </dgm:pt>
    <dgm:pt modelId="{67BB8869-6BD7-46F8-BFEF-B877975EFF85}" type="pres">
      <dgm:prSet presAssocID="{ED4CAC81-4620-4B64-B23B-B5AD829B36D1}" presName="vert1" presStyleCnt="0"/>
      <dgm:spPr/>
    </dgm:pt>
    <dgm:pt modelId="{AF2737CF-BF80-4B2D-9A0F-CCA836ACF52A}" type="pres">
      <dgm:prSet presAssocID="{F7FBCB7C-423C-4592-8A4E-B7A9EE15A841}" presName="vertSpace2a" presStyleCnt="0"/>
      <dgm:spPr/>
    </dgm:pt>
    <dgm:pt modelId="{DEE15337-C2E7-4581-B44F-FCA18384E9C9}" type="pres">
      <dgm:prSet presAssocID="{F7FBCB7C-423C-4592-8A4E-B7A9EE15A841}" presName="horz2" presStyleCnt="0"/>
      <dgm:spPr/>
    </dgm:pt>
    <dgm:pt modelId="{864EB68A-E852-46E2-B6F1-15548FE6D0D6}" type="pres">
      <dgm:prSet presAssocID="{F7FBCB7C-423C-4592-8A4E-B7A9EE15A841}" presName="horzSpace2" presStyleCnt="0"/>
      <dgm:spPr/>
    </dgm:pt>
    <dgm:pt modelId="{A10F08C4-6ED0-4179-9859-C401D3AECE5F}" type="pres">
      <dgm:prSet presAssocID="{F7FBCB7C-423C-4592-8A4E-B7A9EE15A841}" presName="tx2" presStyleLbl="revTx" presStyleIdx="1" presStyleCnt="7" custScaleY="174587"/>
      <dgm:spPr/>
      <dgm:t>
        <a:bodyPr/>
        <a:lstStyle/>
        <a:p>
          <a:endParaRPr lang="ru-RU"/>
        </a:p>
      </dgm:t>
    </dgm:pt>
    <dgm:pt modelId="{F02E9AE5-69FE-448C-827D-08ABC7C7F618}" type="pres">
      <dgm:prSet presAssocID="{F7FBCB7C-423C-4592-8A4E-B7A9EE15A841}" presName="vert2" presStyleCnt="0"/>
      <dgm:spPr/>
    </dgm:pt>
    <dgm:pt modelId="{27A8DFF7-1D22-49BC-9A98-D8C5C8CA561A}" type="pres">
      <dgm:prSet presAssocID="{F7FBCB7C-423C-4592-8A4E-B7A9EE15A841}" presName="thinLine2b" presStyleLbl="callout" presStyleIdx="0" presStyleCnt="6"/>
      <dgm:spPr/>
    </dgm:pt>
    <dgm:pt modelId="{038BFF69-5CD7-49E2-958E-8B1AB10023CF}" type="pres">
      <dgm:prSet presAssocID="{F7FBCB7C-423C-4592-8A4E-B7A9EE15A841}" presName="vertSpace2b" presStyleCnt="0"/>
      <dgm:spPr/>
    </dgm:pt>
    <dgm:pt modelId="{F9DD5F9F-EB81-4917-807A-E320CB2CDD00}" type="pres">
      <dgm:prSet presAssocID="{F1616B7A-676F-44EA-93FF-74C18E128650}" presName="horz2" presStyleCnt="0"/>
      <dgm:spPr/>
    </dgm:pt>
    <dgm:pt modelId="{B4792869-FD61-4139-BD21-3E48DA19D8D8}" type="pres">
      <dgm:prSet presAssocID="{F1616B7A-676F-44EA-93FF-74C18E128650}" presName="horzSpace2" presStyleCnt="0"/>
      <dgm:spPr/>
    </dgm:pt>
    <dgm:pt modelId="{52333015-FF94-4906-8075-5EFD1EA60BE7}" type="pres">
      <dgm:prSet presAssocID="{F1616B7A-676F-44EA-93FF-74C18E128650}" presName="tx2" presStyleLbl="revTx" presStyleIdx="2" presStyleCnt="7" custScaleY="121274"/>
      <dgm:spPr/>
      <dgm:t>
        <a:bodyPr/>
        <a:lstStyle/>
        <a:p>
          <a:endParaRPr lang="ru-RU"/>
        </a:p>
      </dgm:t>
    </dgm:pt>
    <dgm:pt modelId="{176605DF-04D5-4FA7-9949-AFB1E6030CA5}" type="pres">
      <dgm:prSet presAssocID="{F1616B7A-676F-44EA-93FF-74C18E128650}" presName="vert2" presStyleCnt="0"/>
      <dgm:spPr/>
    </dgm:pt>
    <dgm:pt modelId="{F11B68E5-44C9-4CD5-9BD5-8F27652D344B}" type="pres">
      <dgm:prSet presAssocID="{F1616B7A-676F-44EA-93FF-74C18E128650}" presName="thinLine2b" presStyleLbl="callout" presStyleIdx="1" presStyleCnt="6"/>
      <dgm:spPr/>
    </dgm:pt>
    <dgm:pt modelId="{8D66A2CB-FA9A-49D4-8674-84630EA3A78D}" type="pres">
      <dgm:prSet presAssocID="{F1616B7A-676F-44EA-93FF-74C18E128650}" presName="vertSpace2b" presStyleCnt="0"/>
      <dgm:spPr/>
    </dgm:pt>
    <dgm:pt modelId="{E0B7C65C-5448-4F0E-A045-524327162A61}" type="pres">
      <dgm:prSet presAssocID="{EA622906-8FC1-4577-AAAC-BEF9B77E0E05}" presName="horz2" presStyleCnt="0"/>
      <dgm:spPr/>
    </dgm:pt>
    <dgm:pt modelId="{290C5A42-3868-4D3B-8DC2-D1BA9F314A50}" type="pres">
      <dgm:prSet presAssocID="{EA622906-8FC1-4577-AAAC-BEF9B77E0E05}" presName="horzSpace2" presStyleCnt="0"/>
      <dgm:spPr/>
    </dgm:pt>
    <dgm:pt modelId="{6E6C5F7C-1A14-40EF-B360-0599672DAAAB}" type="pres">
      <dgm:prSet presAssocID="{EA622906-8FC1-4577-AAAC-BEF9B77E0E05}" presName="tx2" presStyleLbl="revTx" presStyleIdx="3" presStyleCnt="7" custScaleY="209061"/>
      <dgm:spPr/>
      <dgm:t>
        <a:bodyPr/>
        <a:lstStyle/>
        <a:p>
          <a:endParaRPr lang="ru-RU"/>
        </a:p>
      </dgm:t>
    </dgm:pt>
    <dgm:pt modelId="{99A65EA5-2194-419E-B958-F6536F395DC6}" type="pres">
      <dgm:prSet presAssocID="{EA622906-8FC1-4577-AAAC-BEF9B77E0E05}" presName="vert2" presStyleCnt="0"/>
      <dgm:spPr/>
    </dgm:pt>
    <dgm:pt modelId="{CD8F6A36-ACA5-4F0B-978D-6B40948606F6}" type="pres">
      <dgm:prSet presAssocID="{EA622906-8FC1-4577-AAAC-BEF9B77E0E05}" presName="thinLine2b" presStyleLbl="callout" presStyleIdx="2" presStyleCnt="6"/>
      <dgm:spPr/>
    </dgm:pt>
    <dgm:pt modelId="{42A9E373-B0BC-46DA-9297-D8A3C5E4AEA7}" type="pres">
      <dgm:prSet presAssocID="{EA622906-8FC1-4577-AAAC-BEF9B77E0E05}" presName="vertSpace2b" presStyleCnt="0"/>
      <dgm:spPr/>
    </dgm:pt>
    <dgm:pt modelId="{A1A543EF-69BD-4FFF-9761-5205B4C17B5F}" type="pres">
      <dgm:prSet presAssocID="{C199DD01-3505-4314-87D6-C365A1440477}" presName="horz2" presStyleCnt="0"/>
      <dgm:spPr/>
    </dgm:pt>
    <dgm:pt modelId="{A3F62C95-37D3-4A52-A58C-D80ABC1730D1}" type="pres">
      <dgm:prSet presAssocID="{C199DD01-3505-4314-87D6-C365A1440477}" presName="horzSpace2" presStyleCnt="0"/>
      <dgm:spPr/>
    </dgm:pt>
    <dgm:pt modelId="{373EA835-9414-4588-AFBF-12B1F535B5AC}" type="pres">
      <dgm:prSet presAssocID="{C199DD01-3505-4314-87D6-C365A1440477}" presName="tx2" presStyleLbl="revTx" presStyleIdx="4" presStyleCnt="7"/>
      <dgm:spPr/>
      <dgm:t>
        <a:bodyPr/>
        <a:lstStyle/>
        <a:p>
          <a:endParaRPr lang="ru-RU"/>
        </a:p>
      </dgm:t>
    </dgm:pt>
    <dgm:pt modelId="{52261E49-7409-4580-BD4D-E6CCBB1AA9C9}" type="pres">
      <dgm:prSet presAssocID="{C199DD01-3505-4314-87D6-C365A1440477}" presName="vert2" presStyleCnt="0"/>
      <dgm:spPr/>
    </dgm:pt>
    <dgm:pt modelId="{40E85725-C426-492C-BDA4-39ADF0963121}" type="pres">
      <dgm:prSet presAssocID="{C199DD01-3505-4314-87D6-C365A1440477}" presName="thinLine2b" presStyleLbl="callout" presStyleIdx="3" presStyleCnt="6"/>
      <dgm:spPr/>
    </dgm:pt>
    <dgm:pt modelId="{FD3339CB-FEBD-4615-B773-F26239FAE0DF}" type="pres">
      <dgm:prSet presAssocID="{C199DD01-3505-4314-87D6-C365A1440477}" presName="vertSpace2b" presStyleCnt="0"/>
      <dgm:spPr/>
    </dgm:pt>
    <dgm:pt modelId="{46BE274A-D469-43C2-971D-8ADF709077F2}" type="pres">
      <dgm:prSet presAssocID="{1509EBDB-FFCF-4A57-888D-4A18ACCA905F}" presName="horz2" presStyleCnt="0"/>
      <dgm:spPr/>
    </dgm:pt>
    <dgm:pt modelId="{3455D912-B31A-4C0E-8721-FE9ACE767249}" type="pres">
      <dgm:prSet presAssocID="{1509EBDB-FFCF-4A57-888D-4A18ACCA905F}" presName="horzSpace2" presStyleCnt="0"/>
      <dgm:spPr/>
    </dgm:pt>
    <dgm:pt modelId="{201B5E99-5307-4050-AECC-9381789D34B6}" type="pres">
      <dgm:prSet presAssocID="{1509EBDB-FFCF-4A57-888D-4A18ACCA905F}" presName="tx2" presStyleLbl="revTx" presStyleIdx="5" presStyleCnt="7"/>
      <dgm:spPr/>
      <dgm:t>
        <a:bodyPr/>
        <a:lstStyle/>
        <a:p>
          <a:endParaRPr lang="ru-RU"/>
        </a:p>
      </dgm:t>
    </dgm:pt>
    <dgm:pt modelId="{FE2EDC87-A780-4D9E-82D3-8D14587E7334}" type="pres">
      <dgm:prSet presAssocID="{1509EBDB-FFCF-4A57-888D-4A18ACCA905F}" presName="vert2" presStyleCnt="0"/>
      <dgm:spPr/>
    </dgm:pt>
    <dgm:pt modelId="{C438ECBD-8828-4BE7-AA30-19CD972315DB}" type="pres">
      <dgm:prSet presAssocID="{1509EBDB-FFCF-4A57-888D-4A18ACCA905F}" presName="thinLine2b" presStyleLbl="callout" presStyleIdx="4" presStyleCnt="6"/>
      <dgm:spPr/>
    </dgm:pt>
    <dgm:pt modelId="{0A66FDA5-AB9C-4113-8C21-6146FDC53D1B}" type="pres">
      <dgm:prSet presAssocID="{1509EBDB-FFCF-4A57-888D-4A18ACCA905F}" presName="vertSpace2b" presStyleCnt="0"/>
      <dgm:spPr/>
    </dgm:pt>
    <dgm:pt modelId="{69D523B4-9CA5-4AE4-AC13-E6DB2EAE50CD}" type="pres">
      <dgm:prSet presAssocID="{09CDCA86-CD3F-411D-9BBD-90865ACA229E}" presName="horz2" presStyleCnt="0"/>
      <dgm:spPr/>
    </dgm:pt>
    <dgm:pt modelId="{072A2D6A-E971-48AF-BACE-FAA0DDA78D34}" type="pres">
      <dgm:prSet presAssocID="{09CDCA86-CD3F-411D-9BBD-90865ACA229E}" presName="horzSpace2" presStyleCnt="0"/>
      <dgm:spPr/>
    </dgm:pt>
    <dgm:pt modelId="{2641A273-C837-4A29-816B-02EF057B97C4}" type="pres">
      <dgm:prSet presAssocID="{09CDCA86-CD3F-411D-9BBD-90865ACA229E}" presName="tx2" presStyleLbl="revTx" presStyleIdx="6" presStyleCnt="7"/>
      <dgm:spPr/>
      <dgm:t>
        <a:bodyPr/>
        <a:lstStyle/>
        <a:p>
          <a:endParaRPr lang="ru-RU"/>
        </a:p>
      </dgm:t>
    </dgm:pt>
    <dgm:pt modelId="{928B34E5-0D03-44B7-A245-4ED169CC3846}" type="pres">
      <dgm:prSet presAssocID="{09CDCA86-CD3F-411D-9BBD-90865ACA229E}" presName="vert2" presStyleCnt="0"/>
      <dgm:spPr/>
    </dgm:pt>
    <dgm:pt modelId="{96BEF015-0F30-4039-BC05-BA18DCEBC354}" type="pres">
      <dgm:prSet presAssocID="{09CDCA86-CD3F-411D-9BBD-90865ACA229E}" presName="thinLine2b" presStyleLbl="callout" presStyleIdx="5" presStyleCnt="6"/>
      <dgm:spPr/>
    </dgm:pt>
    <dgm:pt modelId="{532432CF-5E79-4832-AB88-39C8A97752E3}" type="pres">
      <dgm:prSet presAssocID="{09CDCA86-CD3F-411D-9BBD-90865ACA229E}" presName="vertSpace2b" presStyleCnt="0"/>
      <dgm:spPr/>
    </dgm:pt>
  </dgm:ptLst>
  <dgm:cxnLst>
    <dgm:cxn modelId="{ED8F88A5-1339-469F-B666-C400347267F3}" srcId="{ED4CAC81-4620-4B64-B23B-B5AD829B36D1}" destId="{F1616B7A-676F-44EA-93FF-74C18E128650}" srcOrd="1" destOrd="0" parTransId="{E86DD9CC-FFDF-4736-B9D6-6F0A269B4126}" sibTransId="{3C0BED08-E52D-4297-9B24-2D3167E8D5E8}"/>
    <dgm:cxn modelId="{A30F9754-4ABD-4186-8769-7264EF1B5DDE}" type="presOf" srcId="{F1616B7A-676F-44EA-93FF-74C18E128650}" destId="{52333015-FF94-4906-8075-5EFD1EA60BE7}" srcOrd="0" destOrd="0" presId="urn:microsoft.com/office/officeart/2008/layout/LinedList"/>
    <dgm:cxn modelId="{92AD1932-1589-424E-B13F-21DC39F28880}" type="presOf" srcId="{09CDCA86-CD3F-411D-9BBD-90865ACA229E}" destId="{2641A273-C837-4A29-816B-02EF057B97C4}" srcOrd="0" destOrd="0" presId="urn:microsoft.com/office/officeart/2008/layout/LinedList"/>
    <dgm:cxn modelId="{84558949-1C66-44BF-97C6-4D55CF9700FE}" type="presOf" srcId="{C199DD01-3505-4314-87D6-C365A1440477}" destId="{373EA835-9414-4588-AFBF-12B1F535B5AC}" srcOrd="0" destOrd="0" presId="urn:microsoft.com/office/officeart/2008/layout/LinedList"/>
    <dgm:cxn modelId="{43131437-05D5-42AA-BA2D-E3B087221DE3}" srcId="{ED4CAC81-4620-4B64-B23B-B5AD829B36D1}" destId="{F7FBCB7C-423C-4592-8A4E-B7A9EE15A841}" srcOrd="0" destOrd="0" parTransId="{231D212C-BB27-4D58-A8F6-EEE668234B42}" sibTransId="{F9F37F37-6DA1-47DF-AC95-73C096CC4897}"/>
    <dgm:cxn modelId="{F852B4B4-9763-4FA1-AA0D-6563052BF1CF}" srcId="{ED4CAC81-4620-4B64-B23B-B5AD829B36D1}" destId="{1509EBDB-FFCF-4A57-888D-4A18ACCA905F}" srcOrd="4" destOrd="0" parTransId="{521AB579-CB72-4A29-87C7-3E95FE498B9B}" sibTransId="{D0090007-CAE8-4699-8884-88450A25F9AD}"/>
    <dgm:cxn modelId="{77654562-8D13-4C4B-912E-471899D90533}" type="presOf" srcId="{1509EBDB-FFCF-4A57-888D-4A18ACCA905F}" destId="{201B5E99-5307-4050-AECC-9381789D34B6}" srcOrd="0" destOrd="0" presId="urn:microsoft.com/office/officeart/2008/layout/LinedList"/>
    <dgm:cxn modelId="{76B22CDE-4C1D-4D95-9D59-B05C846BE142}" srcId="{ED4CAC81-4620-4B64-B23B-B5AD829B36D1}" destId="{EA622906-8FC1-4577-AAAC-BEF9B77E0E05}" srcOrd="2" destOrd="0" parTransId="{70D8E46E-974D-4D03-9B87-7D8815356F50}" sibTransId="{5C40DAE4-D907-443F-9F2D-0E396FC632B6}"/>
    <dgm:cxn modelId="{ACAA91E6-5BBD-4C1B-890C-31562368A57B}" type="presOf" srcId="{EA622906-8FC1-4577-AAAC-BEF9B77E0E05}" destId="{6E6C5F7C-1A14-40EF-B360-0599672DAAAB}" srcOrd="0" destOrd="0" presId="urn:microsoft.com/office/officeart/2008/layout/LinedList"/>
    <dgm:cxn modelId="{43184BB7-5F88-4F8D-A5DF-7C8568B3E736}" type="presOf" srcId="{ED4CAC81-4620-4B64-B23B-B5AD829B36D1}" destId="{348B1953-BA0E-4E5E-BBE3-229A9227FDFC}" srcOrd="0" destOrd="0" presId="urn:microsoft.com/office/officeart/2008/layout/LinedList"/>
    <dgm:cxn modelId="{F50E15A7-C9BD-495F-B92D-D70F7EF0CE1C}" srcId="{B6E487E3-D46A-4417-B7A6-9FE91C097C61}" destId="{ED4CAC81-4620-4B64-B23B-B5AD829B36D1}" srcOrd="0" destOrd="0" parTransId="{E44D1B61-EBC8-4CE2-856E-F24696AECE6D}" sibTransId="{6BDB0380-F19A-466C-8B69-6E7EC467D11E}"/>
    <dgm:cxn modelId="{9CC6E2E0-E08B-4B29-BD6B-4A0F67616113}" srcId="{ED4CAC81-4620-4B64-B23B-B5AD829B36D1}" destId="{09CDCA86-CD3F-411D-9BBD-90865ACA229E}" srcOrd="5" destOrd="0" parTransId="{3FF98FF6-4117-41AD-BB1F-4700670767F1}" sibTransId="{35DCAD1F-0BD2-4272-A703-436DA1EE87EF}"/>
    <dgm:cxn modelId="{34CB9C64-77BE-4A67-9196-80B1AFA6F783}" type="presOf" srcId="{F7FBCB7C-423C-4592-8A4E-B7A9EE15A841}" destId="{A10F08C4-6ED0-4179-9859-C401D3AECE5F}" srcOrd="0" destOrd="0" presId="urn:microsoft.com/office/officeart/2008/layout/LinedList"/>
    <dgm:cxn modelId="{3AE8A4F6-93D0-4044-9352-722BE1288B32}" type="presOf" srcId="{B6E487E3-D46A-4417-B7A6-9FE91C097C61}" destId="{F7863F82-7226-4DC8-882C-124BB0CC85CA}" srcOrd="0" destOrd="0" presId="urn:microsoft.com/office/officeart/2008/layout/LinedList"/>
    <dgm:cxn modelId="{17E745BC-4E12-4684-82F1-546C5427AE24}" srcId="{ED4CAC81-4620-4B64-B23B-B5AD829B36D1}" destId="{C199DD01-3505-4314-87D6-C365A1440477}" srcOrd="3" destOrd="0" parTransId="{95413EF6-D575-4547-B155-6FC3695BC242}" sibTransId="{FEF68BD0-5788-48CA-BC04-7748E0AFAB91}"/>
    <dgm:cxn modelId="{F841223E-712E-4998-ADF1-1CCF4D3DFDD7}" type="presParOf" srcId="{F7863F82-7226-4DC8-882C-124BB0CC85CA}" destId="{2EF7DBB1-0CCC-4EFC-9849-85DEDE265689}" srcOrd="0" destOrd="0" presId="urn:microsoft.com/office/officeart/2008/layout/LinedList"/>
    <dgm:cxn modelId="{C5A319E7-BB4F-43B1-9F9E-6DCD4F09DC86}" type="presParOf" srcId="{F7863F82-7226-4DC8-882C-124BB0CC85CA}" destId="{AAEBF1A5-C4E5-4A78-BED8-06FC43879A58}" srcOrd="1" destOrd="0" presId="urn:microsoft.com/office/officeart/2008/layout/LinedList"/>
    <dgm:cxn modelId="{4D9718C9-3AC6-4048-90DB-883236C122C9}" type="presParOf" srcId="{AAEBF1A5-C4E5-4A78-BED8-06FC43879A58}" destId="{348B1953-BA0E-4E5E-BBE3-229A9227FDFC}" srcOrd="0" destOrd="0" presId="urn:microsoft.com/office/officeart/2008/layout/LinedList"/>
    <dgm:cxn modelId="{E4A05C41-3B79-47F9-A969-F6B6B872FE48}" type="presParOf" srcId="{AAEBF1A5-C4E5-4A78-BED8-06FC43879A58}" destId="{67BB8869-6BD7-46F8-BFEF-B877975EFF85}" srcOrd="1" destOrd="0" presId="urn:microsoft.com/office/officeart/2008/layout/LinedList"/>
    <dgm:cxn modelId="{4C41ACBC-905B-47DA-AE27-996D6400B5AF}" type="presParOf" srcId="{67BB8869-6BD7-46F8-BFEF-B877975EFF85}" destId="{AF2737CF-BF80-4B2D-9A0F-CCA836ACF52A}" srcOrd="0" destOrd="0" presId="urn:microsoft.com/office/officeart/2008/layout/LinedList"/>
    <dgm:cxn modelId="{3F297272-90AB-4C16-9875-1269D2BD6DD4}" type="presParOf" srcId="{67BB8869-6BD7-46F8-BFEF-B877975EFF85}" destId="{DEE15337-C2E7-4581-B44F-FCA18384E9C9}" srcOrd="1" destOrd="0" presId="urn:microsoft.com/office/officeart/2008/layout/LinedList"/>
    <dgm:cxn modelId="{9EBD403F-5DAD-4319-B6B1-18EE99379C17}" type="presParOf" srcId="{DEE15337-C2E7-4581-B44F-FCA18384E9C9}" destId="{864EB68A-E852-46E2-B6F1-15548FE6D0D6}" srcOrd="0" destOrd="0" presId="urn:microsoft.com/office/officeart/2008/layout/LinedList"/>
    <dgm:cxn modelId="{4C65E052-744F-4448-98D8-E1CD915F69D9}" type="presParOf" srcId="{DEE15337-C2E7-4581-B44F-FCA18384E9C9}" destId="{A10F08C4-6ED0-4179-9859-C401D3AECE5F}" srcOrd="1" destOrd="0" presId="urn:microsoft.com/office/officeart/2008/layout/LinedList"/>
    <dgm:cxn modelId="{C8720BDE-9F40-4AC2-869C-19273FA84650}" type="presParOf" srcId="{DEE15337-C2E7-4581-B44F-FCA18384E9C9}" destId="{F02E9AE5-69FE-448C-827D-08ABC7C7F618}" srcOrd="2" destOrd="0" presId="urn:microsoft.com/office/officeart/2008/layout/LinedList"/>
    <dgm:cxn modelId="{B5E468BC-DC67-49D4-A219-CD3627113FFF}" type="presParOf" srcId="{67BB8869-6BD7-46F8-BFEF-B877975EFF85}" destId="{27A8DFF7-1D22-49BC-9A98-D8C5C8CA561A}" srcOrd="2" destOrd="0" presId="urn:microsoft.com/office/officeart/2008/layout/LinedList"/>
    <dgm:cxn modelId="{5E1D02A2-C4DA-4B89-9926-B95E2648543A}" type="presParOf" srcId="{67BB8869-6BD7-46F8-BFEF-B877975EFF85}" destId="{038BFF69-5CD7-49E2-958E-8B1AB10023CF}" srcOrd="3" destOrd="0" presId="urn:microsoft.com/office/officeart/2008/layout/LinedList"/>
    <dgm:cxn modelId="{8DA7DC23-C154-4B31-8489-F3301504FB6D}" type="presParOf" srcId="{67BB8869-6BD7-46F8-BFEF-B877975EFF85}" destId="{F9DD5F9F-EB81-4917-807A-E320CB2CDD00}" srcOrd="4" destOrd="0" presId="urn:microsoft.com/office/officeart/2008/layout/LinedList"/>
    <dgm:cxn modelId="{5442D64D-7FD8-4216-8050-E63F801D03F5}" type="presParOf" srcId="{F9DD5F9F-EB81-4917-807A-E320CB2CDD00}" destId="{B4792869-FD61-4139-BD21-3E48DA19D8D8}" srcOrd="0" destOrd="0" presId="urn:microsoft.com/office/officeart/2008/layout/LinedList"/>
    <dgm:cxn modelId="{2BED7DED-B826-438F-8A3A-49A763D80AC7}" type="presParOf" srcId="{F9DD5F9F-EB81-4917-807A-E320CB2CDD00}" destId="{52333015-FF94-4906-8075-5EFD1EA60BE7}" srcOrd="1" destOrd="0" presId="urn:microsoft.com/office/officeart/2008/layout/LinedList"/>
    <dgm:cxn modelId="{40ADCC5D-75F9-4BC3-B70E-A804125EA7F6}" type="presParOf" srcId="{F9DD5F9F-EB81-4917-807A-E320CB2CDD00}" destId="{176605DF-04D5-4FA7-9949-AFB1E6030CA5}" srcOrd="2" destOrd="0" presId="urn:microsoft.com/office/officeart/2008/layout/LinedList"/>
    <dgm:cxn modelId="{057646B4-7FE5-42D2-84E7-054210DA39D9}" type="presParOf" srcId="{67BB8869-6BD7-46F8-BFEF-B877975EFF85}" destId="{F11B68E5-44C9-4CD5-9BD5-8F27652D344B}" srcOrd="5" destOrd="0" presId="urn:microsoft.com/office/officeart/2008/layout/LinedList"/>
    <dgm:cxn modelId="{5F3BFC5D-666A-4EFF-BE82-266E3A8DDF82}" type="presParOf" srcId="{67BB8869-6BD7-46F8-BFEF-B877975EFF85}" destId="{8D66A2CB-FA9A-49D4-8674-84630EA3A78D}" srcOrd="6" destOrd="0" presId="urn:microsoft.com/office/officeart/2008/layout/LinedList"/>
    <dgm:cxn modelId="{85B1720C-8C0E-4F7E-8120-983365D2D362}" type="presParOf" srcId="{67BB8869-6BD7-46F8-BFEF-B877975EFF85}" destId="{E0B7C65C-5448-4F0E-A045-524327162A61}" srcOrd="7" destOrd="0" presId="urn:microsoft.com/office/officeart/2008/layout/LinedList"/>
    <dgm:cxn modelId="{F0DB98EE-FE93-443F-9239-26DEB9EDF51A}" type="presParOf" srcId="{E0B7C65C-5448-4F0E-A045-524327162A61}" destId="{290C5A42-3868-4D3B-8DC2-D1BA9F314A50}" srcOrd="0" destOrd="0" presId="urn:microsoft.com/office/officeart/2008/layout/LinedList"/>
    <dgm:cxn modelId="{38D63526-345F-4AAF-A53C-18982AE16FE5}" type="presParOf" srcId="{E0B7C65C-5448-4F0E-A045-524327162A61}" destId="{6E6C5F7C-1A14-40EF-B360-0599672DAAAB}" srcOrd="1" destOrd="0" presId="urn:microsoft.com/office/officeart/2008/layout/LinedList"/>
    <dgm:cxn modelId="{EC25DAC3-88E6-44D9-97F1-76C1894C0B94}" type="presParOf" srcId="{E0B7C65C-5448-4F0E-A045-524327162A61}" destId="{99A65EA5-2194-419E-B958-F6536F395DC6}" srcOrd="2" destOrd="0" presId="urn:microsoft.com/office/officeart/2008/layout/LinedList"/>
    <dgm:cxn modelId="{E96D286C-FD2E-44A6-97D2-10149C07ABCF}" type="presParOf" srcId="{67BB8869-6BD7-46F8-BFEF-B877975EFF85}" destId="{CD8F6A36-ACA5-4F0B-978D-6B40948606F6}" srcOrd="8" destOrd="0" presId="urn:microsoft.com/office/officeart/2008/layout/LinedList"/>
    <dgm:cxn modelId="{9153CDAD-3F42-4353-9197-0DE94C3C866D}" type="presParOf" srcId="{67BB8869-6BD7-46F8-BFEF-B877975EFF85}" destId="{42A9E373-B0BC-46DA-9297-D8A3C5E4AEA7}" srcOrd="9" destOrd="0" presId="urn:microsoft.com/office/officeart/2008/layout/LinedList"/>
    <dgm:cxn modelId="{C636A83A-8E9D-48A2-8D3E-2779F23C41C4}" type="presParOf" srcId="{67BB8869-6BD7-46F8-BFEF-B877975EFF85}" destId="{A1A543EF-69BD-4FFF-9761-5205B4C17B5F}" srcOrd="10" destOrd="0" presId="urn:microsoft.com/office/officeart/2008/layout/LinedList"/>
    <dgm:cxn modelId="{F8769DF5-8D32-40D3-B19D-4E5A17662C79}" type="presParOf" srcId="{A1A543EF-69BD-4FFF-9761-5205B4C17B5F}" destId="{A3F62C95-37D3-4A52-A58C-D80ABC1730D1}" srcOrd="0" destOrd="0" presId="urn:microsoft.com/office/officeart/2008/layout/LinedList"/>
    <dgm:cxn modelId="{D676F95F-B673-42F3-86F4-14FF7F8B41BB}" type="presParOf" srcId="{A1A543EF-69BD-4FFF-9761-5205B4C17B5F}" destId="{373EA835-9414-4588-AFBF-12B1F535B5AC}" srcOrd="1" destOrd="0" presId="urn:microsoft.com/office/officeart/2008/layout/LinedList"/>
    <dgm:cxn modelId="{27E0C46C-A93A-4BCC-A539-5F5B5E4ED2ED}" type="presParOf" srcId="{A1A543EF-69BD-4FFF-9761-5205B4C17B5F}" destId="{52261E49-7409-4580-BD4D-E6CCBB1AA9C9}" srcOrd="2" destOrd="0" presId="urn:microsoft.com/office/officeart/2008/layout/LinedList"/>
    <dgm:cxn modelId="{491CDD21-7BAE-4B44-9B46-8E219DBC58D4}" type="presParOf" srcId="{67BB8869-6BD7-46F8-BFEF-B877975EFF85}" destId="{40E85725-C426-492C-BDA4-39ADF0963121}" srcOrd="11" destOrd="0" presId="urn:microsoft.com/office/officeart/2008/layout/LinedList"/>
    <dgm:cxn modelId="{70DF7E57-0ABA-4657-9E51-523FC89280FF}" type="presParOf" srcId="{67BB8869-6BD7-46F8-BFEF-B877975EFF85}" destId="{FD3339CB-FEBD-4615-B773-F26239FAE0DF}" srcOrd="12" destOrd="0" presId="urn:microsoft.com/office/officeart/2008/layout/LinedList"/>
    <dgm:cxn modelId="{6F5F849D-39B0-481D-A59D-92AE2223AD31}" type="presParOf" srcId="{67BB8869-6BD7-46F8-BFEF-B877975EFF85}" destId="{46BE274A-D469-43C2-971D-8ADF709077F2}" srcOrd="13" destOrd="0" presId="urn:microsoft.com/office/officeart/2008/layout/LinedList"/>
    <dgm:cxn modelId="{4E955B7D-5ED5-44B1-B733-F66BF617FE27}" type="presParOf" srcId="{46BE274A-D469-43C2-971D-8ADF709077F2}" destId="{3455D912-B31A-4C0E-8721-FE9ACE767249}" srcOrd="0" destOrd="0" presId="urn:microsoft.com/office/officeart/2008/layout/LinedList"/>
    <dgm:cxn modelId="{86033BC8-A97B-412E-9D0E-651B51E567C2}" type="presParOf" srcId="{46BE274A-D469-43C2-971D-8ADF709077F2}" destId="{201B5E99-5307-4050-AECC-9381789D34B6}" srcOrd="1" destOrd="0" presId="urn:microsoft.com/office/officeart/2008/layout/LinedList"/>
    <dgm:cxn modelId="{863ABD40-C768-40D4-A92A-F8E578317DD8}" type="presParOf" srcId="{46BE274A-D469-43C2-971D-8ADF709077F2}" destId="{FE2EDC87-A780-4D9E-82D3-8D14587E7334}" srcOrd="2" destOrd="0" presId="urn:microsoft.com/office/officeart/2008/layout/LinedList"/>
    <dgm:cxn modelId="{2CD7DCDD-4DB3-4E51-88ED-31A09D7D5BD8}" type="presParOf" srcId="{67BB8869-6BD7-46F8-BFEF-B877975EFF85}" destId="{C438ECBD-8828-4BE7-AA30-19CD972315DB}" srcOrd="14" destOrd="0" presId="urn:microsoft.com/office/officeart/2008/layout/LinedList"/>
    <dgm:cxn modelId="{DFADADD8-12D6-402E-A371-31F19390A48B}" type="presParOf" srcId="{67BB8869-6BD7-46F8-BFEF-B877975EFF85}" destId="{0A66FDA5-AB9C-4113-8C21-6146FDC53D1B}" srcOrd="15" destOrd="0" presId="urn:microsoft.com/office/officeart/2008/layout/LinedList"/>
    <dgm:cxn modelId="{77141A7B-63F3-497D-8DDB-D75C58939A18}" type="presParOf" srcId="{67BB8869-6BD7-46F8-BFEF-B877975EFF85}" destId="{69D523B4-9CA5-4AE4-AC13-E6DB2EAE50CD}" srcOrd="16" destOrd="0" presId="urn:microsoft.com/office/officeart/2008/layout/LinedList"/>
    <dgm:cxn modelId="{E5AEF912-5C81-4F99-B3A9-246ABE16D6AB}" type="presParOf" srcId="{69D523B4-9CA5-4AE4-AC13-E6DB2EAE50CD}" destId="{072A2D6A-E971-48AF-BACE-FAA0DDA78D34}" srcOrd="0" destOrd="0" presId="urn:microsoft.com/office/officeart/2008/layout/LinedList"/>
    <dgm:cxn modelId="{9B94E8B8-9E59-429B-93B4-BDA9D1661732}" type="presParOf" srcId="{69D523B4-9CA5-4AE4-AC13-E6DB2EAE50CD}" destId="{2641A273-C837-4A29-816B-02EF057B97C4}" srcOrd="1" destOrd="0" presId="urn:microsoft.com/office/officeart/2008/layout/LinedList"/>
    <dgm:cxn modelId="{BB01105A-B95C-476D-A53E-949AEFC8B8C9}" type="presParOf" srcId="{69D523B4-9CA5-4AE4-AC13-E6DB2EAE50CD}" destId="{928B34E5-0D03-44B7-A245-4ED169CC3846}" srcOrd="2" destOrd="0" presId="urn:microsoft.com/office/officeart/2008/layout/LinedList"/>
    <dgm:cxn modelId="{E07AD220-7B09-4CD4-B57A-F995226A5D11}" type="presParOf" srcId="{67BB8869-6BD7-46F8-BFEF-B877975EFF85}" destId="{96BEF015-0F30-4039-BC05-BA18DCEBC354}" srcOrd="17" destOrd="0" presId="urn:microsoft.com/office/officeart/2008/layout/LinedList"/>
    <dgm:cxn modelId="{C5966B29-4F98-4224-889C-50246FB496D8}" type="presParOf" srcId="{67BB8869-6BD7-46F8-BFEF-B877975EFF85}" destId="{532432CF-5E79-4832-AB88-39C8A97752E3}" srcOrd="1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91BB71"/>
        </a:solidFill>
      </dgm:spPr>
      <dgm:t>
        <a:bodyPr/>
        <a:lstStyle/>
        <a:p>
          <a:r>
            <a:rPr lang="ru-RU" sz="1800" b="1" dirty="0" smtClean="0"/>
            <a:t>Оформление списков претендентов и направление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7DDF2DD-985B-42A8-9281-E87DABCBA6A5}" type="presOf" srcId="{7D3EDE78-357E-4F7E-95AF-93BAD733999C}" destId="{B19A45E8-9114-46B8-ABB1-C5D4B5041A75}" srcOrd="0" destOrd="0" presId="urn:microsoft.com/office/officeart/2009/3/layout/IncreasingArrowsProcess"/>
    <dgm:cxn modelId="{62BD18AC-0448-4CF5-86FE-2F5CF9923C7D}" type="presOf" srcId="{DCBBB76E-1E80-43CE-A3E4-F678CD28F155}" destId="{EA120FCF-C6AA-4B87-877E-5992B78CA861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C5AA2951-4754-4113-B386-04C241FF5FAA}" type="presOf" srcId="{10FD7243-DBEA-4098-AB4E-C7B7E1209E8F}" destId="{A7217D00-E232-4637-AD75-679D2F048C3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BFC557D9-6077-4740-BDD7-44399B34DA9E}" type="presParOf" srcId="{A7217D00-E232-4637-AD75-679D2F048C33}" destId="{B19A45E8-9114-46B8-ABB1-C5D4B5041A75}" srcOrd="0" destOrd="0" presId="urn:microsoft.com/office/officeart/2009/3/layout/IncreasingArrowsProcess"/>
    <dgm:cxn modelId="{B6DDD565-7A6E-43C1-87CB-15F4F92D2FD1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>
        <a:solidFill>
          <a:srgbClr val="91BB71"/>
        </a:solidFill>
      </dgm:spPr>
      <dgm:t>
        <a:bodyPr/>
        <a:lstStyle/>
        <a:p>
          <a:r>
            <a:rPr lang="ru-RU" sz="2400" dirty="0" smtClean="0"/>
            <a:t>Оформление списков претендентов</a:t>
          </a:r>
          <a:endParaRPr lang="ru-RU" sz="24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7F14D16A-FC7A-484B-BF30-F2C0F5AC9ECF}">
      <dgm:prSet phldrT="[Текст]" custT="1"/>
      <dgm:spPr/>
      <dgm:t>
        <a:bodyPr/>
        <a:lstStyle/>
        <a:p>
          <a:pPr marL="171450" indent="0" algn="just">
            <a:lnSpc>
              <a:spcPct val="100000"/>
            </a:lnSpc>
            <a:spcAft>
              <a:spcPts val="600"/>
            </a:spcAft>
          </a:pPr>
          <a:r>
            <a:rPr lang="ru-RU" sz="1400" dirty="0" smtClean="0"/>
            <a:t>Формы 1-6 заполняются в соответствии с пояснениями, размещенными в примечаниях к формам (шрифт </a:t>
          </a:r>
          <a:r>
            <a:rPr lang="en-US" sz="1400" dirty="0" smtClean="0"/>
            <a:t>Times New Roman</a:t>
          </a:r>
          <a:r>
            <a:rPr lang="ru-RU" sz="1400" dirty="0" smtClean="0"/>
            <a:t>, размер - 9)</a:t>
          </a:r>
          <a:endParaRPr lang="ru-RU" sz="1400" dirty="0"/>
        </a:p>
      </dgm:t>
    </dgm:pt>
    <dgm:pt modelId="{0675F527-3AB2-4769-95A5-4C8A4AF12586}" type="parTrans" cxnId="{34E8187A-4F25-4E10-816F-F24DA9E466B5}">
      <dgm:prSet/>
      <dgm:spPr/>
      <dgm:t>
        <a:bodyPr/>
        <a:lstStyle/>
        <a:p>
          <a:endParaRPr lang="ru-RU"/>
        </a:p>
      </dgm:t>
    </dgm:pt>
    <dgm:pt modelId="{56615905-A83C-4246-A470-3CEE108E067F}" type="sibTrans" cxnId="{34E8187A-4F25-4E10-816F-F24DA9E466B5}">
      <dgm:prSet/>
      <dgm:spPr/>
      <dgm:t>
        <a:bodyPr/>
        <a:lstStyle/>
        <a:p>
          <a:endParaRPr lang="ru-RU"/>
        </a:p>
      </dgm:t>
    </dgm:pt>
    <dgm:pt modelId="{ED4CAC81-4620-4B64-B23B-B5AD829B36D1}">
      <dgm:prSet phldrT="[Текст]" custT="1"/>
      <dgm:spPr/>
      <dgm:t>
        <a:bodyPr/>
        <a:lstStyle/>
        <a:p>
          <a:pPr marL="171450" indent="0" algn="just">
            <a:lnSpc>
              <a:spcPct val="100000"/>
            </a:lnSpc>
            <a:spcAft>
              <a:spcPts val="600"/>
            </a:spcAft>
          </a:pPr>
          <a:r>
            <a:rPr lang="ru-RU" sz="1400" dirty="0" smtClean="0"/>
            <a:t>К каждой форме прикладывается соответствующий комплект Описаний достижений претендентов. Допускаются  отметки исполнителя , вносимые в Описании  достижений претендентов и свидетельствующие об исключении достижения из-за выявленного несоответствия  критериям конкурсного отбора.</a:t>
          </a:r>
          <a:endParaRPr lang="ru-RU" sz="1400" dirty="0"/>
        </a:p>
      </dgm:t>
    </dgm:pt>
    <dgm:pt modelId="{E44D1B61-EBC8-4CE2-856E-F24696AECE6D}" type="parTrans" cxnId="{F50E15A7-C9BD-495F-B92D-D70F7EF0CE1C}">
      <dgm:prSet/>
      <dgm:spPr/>
      <dgm:t>
        <a:bodyPr/>
        <a:lstStyle/>
        <a:p>
          <a:endParaRPr lang="ru-RU"/>
        </a:p>
      </dgm:t>
    </dgm:pt>
    <dgm:pt modelId="{6BDB0380-F19A-466C-8B69-6E7EC467D11E}" type="sibTrans" cxnId="{F50E15A7-C9BD-495F-B92D-D70F7EF0CE1C}">
      <dgm:prSet/>
      <dgm:spPr/>
      <dgm:t>
        <a:bodyPr/>
        <a:lstStyle/>
        <a:p>
          <a:endParaRPr lang="ru-RU"/>
        </a:p>
      </dgm:t>
    </dgm:pt>
    <dgm:pt modelId="{86020327-6F09-4756-A913-0417B2D239F1}">
      <dgm:prSet phldrT="[Текст]" custT="1"/>
      <dgm:spPr/>
      <dgm:t>
        <a:bodyPr/>
        <a:lstStyle/>
        <a:p>
          <a:pPr marL="722313" indent="0" algn="just">
            <a:lnSpc>
              <a:spcPct val="100000"/>
            </a:lnSpc>
            <a:spcAft>
              <a:spcPts val="300"/>
            </a:spcAft>
          </a:pPr>
          <a:r>
            <a:rPr lang="ru-RU" sz="1400" dirty="0" smtClean="0"/>
            <a:t>Используется система  принимаемых сокращений статуса и вида мероприятий, изданий,</a:t>
          </a:r>
          <a:endParaRPr lang="ru-RU" sz="1400" dirty="0"/>
        </a:p>
      </dgm:t>
    </dgm:pt>
    <dgm:pt modelId="{0B283CE4-BB8F-4A68-B501-D6574FB47630}" type="parTrans" cxnId="{C1A8705E-D98D-4272-A3FE-F186A390E45D}">
      <dgm:prSet/>
      <dgm:spPr/>
      <dgm:t>
        <a:bodyPr/>
        <a:lstStyle/>
        <a:p>
          <a:endParaRPr lang="ru-RU"/>
        </a:p>
      </dgm:t>
    </dgm:pt>
    <dgm:pt modelId="{1360155C-AE35-4EDE-8A04-C4844B4E0135}" type="sibTrans" cxnId="{C1A8705E-D98D-4272-A3FE-F186A390E45D}">
      <dgm:prSet/>
      <dgm:spPr/>
      <dgm:t>
        <a:bodyPr/>
        <a:lstStyle/>
        <a:p>
          <a:endParaRPr lang="ru-RU"/>
        </a:p>
      </dgm:t>
    </dgm:pt>
    <dgm:pt modelId="{4E7D9A1A-7A27-4671-8B94-6826D66AA69D}">
      <dgm:prSet phldrT="[Текст]" custT="1"/>
      <dgm:spPr/>
      <dgm:t>
        <a:bodyPr/>
        <a:lstStyle/>
        <a:p>
          <a:pPr marL="722313" indent="0" algn="l">
            <a:lnSpc>
              <a:spcPct val="100000"/>
            </a:lnSpc>
            <a:spcAft>
              <a:spcPts val="300"/>
            </a:spcAft>
          </a:pPr>
          <a:r>
            <a:rPr lang="ru-RU" sz="1400" dirty="0" smtClean="0"/>
            <a:t>Указывается количество достижений, статус участия претендента.</a:t>
          </a:r>
          <a:endParaRPr lang="ru-RU" sz="1400" dirty="0"/>
        </a:p>
      </dgm:t>
    </dgm:pt>
    <dgm:pt modelId="{7AC739BB-F36F-44CD-BA03-9FB7062228E5}" type="parTrans" cxnId="{CD0A6596-F8EF-4AA9-BA46-6CD607C73FE8}">
      <dgm:prSet/>
      <dgm:spPr/>
      <dgm:t>
        <a:bodyPr/>
        <a:lstStyle/>
        <a:p>
          <a:endParaRPr lang="ru-RU"/>
        </a:p>
      </dgm:t>
    </dgm:pt>
    <dgm:pt modelId="{057AC4C3-4A2F-40B2-8AC3-10328566C7DA}" type="sibTrans" cxnId="{CD0A6596-F8EF-4AA9-BA46-6CD607C73FE8}">
      <dgm:prSet/>
      <dgm:spPr/>
      <dgm:t>
        <a:bodyPr/>
        <a:lstStyle/>
        <a:p>
          <a:endParaRPr lang="ru-RU"/>
        </a:p>
      </dgm:t>
    </dgm:pt>
    <dgm:pt modelId="{434B51F6-E8A4-42AF-9877-9671744F6CF8}">
      <dgm:prSet phldrT="[Текст]" custT="1"/>
      <dgm:spPr/>
      <dgm:t>
        <a:bodyPr/>
        <a:lstStyle/>
        <a:p>
          <a:pPr marL="722313" indent="0" algn="just">
            <a:lnSpc>
              <a:spcPct val="100000"/>
            </a:lnSpc>
            <a:spcAft>
              <a:spcPts val="300"/>
            </a:spcAft>
          </a:pPr>
          <a:r>
            <a:rPr lang="ru-RU" sz="1400" dirty="0" smtClean="0"/>
            <a:t>При полном совпадении характеристик достижений, их описание в списке объединяется в одну строку, объемные параметры суммируются.</a:t>
          </a:r>
          <a:endParaRPr lang="ru-RU" sz="1400" dirty="0"/>
        </a:p>
      </dgm:t>
    </dgm:pt>
    <dgm:pt modelId="{715B610E-8309-4C3B-992F-1ED8C24275EB}" type="parTrans" cxnId="{6EC4651B-2329-4105-8E29-2C6E4984A1F2}">
      <dgm:prSet/>
      <dgm:spPr/>
      <dgm:t>
        <a:bodyPr/>
        <a:lstStyle/>
        <a:p>
          <a:endParaRPr lang="ru-RU"/>
        </a:p>
      </dgm:t>
    </dgm:pt>
    <dgm:pt modelId="{3E0E4339-7747-4F0F-B2BF-C7278AE40532}" type="sibTrans" cxnId="{6EC4651B-2329-4105-8E29-2C6E4984A1F2}">
      <dgm:prSet/>
      <dgm:spPr/>
      <dgm:t>
        <a:bodyPr/>
        <a:lstStyle/>
        <a:p>
          <a:endParaRPr lang="ru-RU"/>
        </a:p>
      </dgm:t>
    </dgm:pt>
    <dgm:pt modelId="{3EFF79C5-449C-419F-8F1F-A7C693F633FE}">
      <dgm:prSet phldrT="[Текст]" custT="1"/>
      <dgm:spPr/>
      <dgm:t>
        <a:bodyPr/>
        <a:lstStyle/>
        <a:p>
          <a:pPr marL="722313" indent="0" algn="l">
            <a:lnSpc>
              <a:spcPct val="100000"/>
            </a:lnSpc>
            <a:spcAft>
              <a:spcPts val="300"/>
            </a:spcAft>
          </a:pPr>
          <a:r>
            <a:rPr lang="ru-RU" sz="1400" dirty="0" smtClean="0"/>
            <a:t>Подписывается руководителем организации и исполнителем. </a:t>
          </a:r>
          <a:endParaRPr lang="ru-RU" sz="1400" dirty="0"/>
        </a:p>
      </dgm:t>
    </dgm:pt>
    <dgm:pt modelId="{AA32851E-E2E3-4311-A34E-C32E6B6C3829}" type="parTrans" cxnId="{B6DDD9B1-382F-40FF-8E19-BFD9719D45D2}">
      <dgm:prSet/>
      <dgm:spPr/>
      <dgm:t>
        <a:bodyPr/>
        <a:lstStyle/>
        <a:p>
          <a:endParaRPr lang="ru-RU"/>
        </a:p>
      </dgm:t>
    </dgm:pt>
    <dgm:pt modelId="{42AB932E-3B67-41D0-A5E8-094FC5CEE68A}" type="sibTrans" cxnId="{B6DDD9B1-382F-40FF-8E19-BFD9719D45D2}">
      <dgm:prSet/>
      <dgm:spPr/>
      <dgm:t>
        <a:bodyPr/>
        <a:lstStyle/>
        <a:p>
          <a:endParaRPr lang="ru-RU"/>
        </a:p>
      </dgm:t>
    </dgm:pt>
    <dgm:pt modelId="{3A63DE43-E9A0-42F5-AFBC-301A0180D499}">
      <dgm:prSet phldrT="[Текст]" custT="1"/>
      <dgm:spPr/>
      <dgm:t>
        <a:bodyPr/>
        <a:lstStyle/>
        <a:p>
          <a:pPr marL="171450" indent="0" algn="l">
            <a:lnSpc>
              <a:spcPct val="100000"/>
            </a:lnSpc>
            <a:spcAft>
              <a:spcPts val="600"/>
            </a:spcAft>
          </a:pPr>
          <a:r>
            <a:rPr lang="ru-RU" sz="1400" dirty="0" smtClean="0"/>
            <a:t>Списки оформляются лицом, определенным организацией в качестве исполнителя.</a:t>
          </a:r>
          <a:endParaRPr lang="ru-RU" sz="1400" dirty="0"/>
        </a:p>
      </dgm:t>
    </dgm:pt>
    <dgm:pt modelId="{690CE426-90B6-4F69-B9D4-BA57F0EADCA0}" type="parTrans" cxnId="{22AF8E1B-DA18-4700-810E-81F2D2458490}">
      <dgm:prSet/>
      <dgm:spPr/>
      <dgm:t>
        <a:bodyPr/>
        <a:lstStyle/>
        <a:p>
          <a:endParaRPr lang="ru-RU"/>
        </a:p>
      </dgm:t>
    </dgm:pt>
    <dgm:pt modelId="{157B5B79-B29E-4BDF-9CDC-661DF1F5E4F6}" type="sibTrans" cxnId="{22AF8E1B-DA18-4700-810E-81F2D2458490}">
      <dgm:prSet/>
      <dgm:spPr/>
      <dgm:t>
        <a:bodyPr/>
        <a:lstStyle/>
        <a:p>
          <a:endParaRPr lang="ru-RU"/>
        </a:p>
      </dgm:t>
    </dgm:pt>
    <dgm:pt modelId="{E81376C4-F6DB-47D2-9192-5A6D94225692}">
      <dgm:prSet phldrT="[Текст]" custT="1"/>
      <dgm:spPr/>
      <dgm:t>
        <a:bodyPr/>
        <a:lstStyle/>
        <a:p>
          <a:pPr marL="171450" indent="0" algn="just">
            <a:lnSpc>
              <a:spcPct val="100000"/>
            </a:lnSpc>
            <a:spcAft>
              <a:spcPts val="600"/>
            </a:spcAft>
          </a:pPr>
          <a:r>
            <a:rPr lang="en-US" sz="1400" dirty="0" smtClean="0"/>
            <a:t> </a:t>
          </a:r>
          <a:r>
            <a:rPr lang="ru-RU" sz="1400" dirty="0" smtClean="0"/>
            <a:t>Заполняются на основании представленных претендентами описаний достижений и подтверждающих материалов при  условии соответствия достижения виду, статусу и времени, определенных в Положении об именных стипендиях .</a:t>
          </a:r>
          <a:endParaRPr lang="ru-RU" sz="1400" dirty="0"/>
        </a:p>
      </dgm:t>
    </dgm:pt>
    <dgm:pt modelId="{3B5AF685-6956-41FF-9EB6-E0A59D309649}" type="parTrans" cxnId="{A3E089D3-3224-4CC8-9724-186EA6C939D0}">
      <dgm:prSet/>
      <dgm:spPr/>
      <dgm:t>
        <a:bodyPr/>
        <a:lstStyle/>
        <a:p>
          <a:endParaRPr lang="ru-RU"/>
        </a:p>
      </dgm:t>
    </dgm:pt>
    <dgm:pt modelId="{B4980743-7835-4A4D-81AF-A224702E0EE6}" type="sibTrans" cxnId="{A3E089D3-3224-4CC8-9724-186EA6C939D0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3B2CDF-8148-4F86-AD92-50484BF3B5B2}" type="pres">
      <dgm:prSet presAssocID="{3619DE1C-FEB4-491C-8F7A-9AB7650FBCEF}" presName="parentText" presStyleLbl="node1" presStyleIdx="0" presStyleCnt="1" custScaleY="161186" custLinFactNeighborX="262" custLinFactNeighborY="-5901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FE0003-C8E2-43A7-AD91-A4F84F7F4205}" type="pres">
      <dgm:prSet presAssocID="{3619DE1C-FEB4-491C-8F7A-9AB7650FBCEF}" presName="childText" presStyleLbl="revTx" presStyleIdx="0" presStyleCnt="1" custScaleY="197936" custLinFactNeighborX="-502" custLinFactNeighborY="999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54D4F83-CD6C-4AC4-989C-6F454C5D6F7E}" type="presOf" srcId="{7F14D16A-FC7A-484B-BF30-F2C0F5AC9ECF}" destId="{ADFE0003-C8E2-43A7-AD91-A4F84F7F4205}" srcOrd="0" destOrd="2" presId="urn:microsoft.com/office/officeart/2005/8/layout/vList2"/>
    <dgm:cxn modelId="{A3E089D3-3224-4CC8-9724-186EA6C939D0}" srcId="{3619DE1C-FEB4-491C-8F7A-9AB7650FBCEF}" destId="{E81376C4-F6DB-47D2-9192-5A6D94225692}" srcOrd="1" destOrd="0" parTransId="{3B5AF685-6956-41FF-9EB6-E0A59D309649}" sibTransId="{B4980743-7835-4A4D-81AF-A224702E0EE6}"/>
    <dgm:cxn modelId="{F50E15A7-C9BD-495F-B92D-D70F7EF0CE1C}" srcId="{3619DE1C-FEB4-491C-8F7A-9AB7650FBCEF}" destId="{ED4CAC81-4620-4B64-B23B-B5AD829B36D1}" srcOrd="3" destOrd="0" parTransId="{E44D1B61-EBC8-4CE2-856E-F24696AECE6D}" sibTransId="{6BDB0380-F19A-466C-8B69-6E7EC467D11E}"/>
    <dgm:cxn modelId="{66FF508D-CC5A-46FA-A304-B2094E320E63}" type="presOf" srcId="{86020327-6F09-4756-A913-0417B2D239F1}" destId="{ADFE0003-C8E2-43A7-AD91-A4F84F7F4205}" srcOrd="0" destOrd="3" presId="urn:microsoft.com/office/officeart/2005/8/layout/vList2"/>
    <dgm:cxn modelId="{6EC4651B-2329-4105-8E29-2C6E4984A1F2}" srcId="{7F14D16A-FC7A-484B-BF30-F2C0F5AC9ECF}" destId="{434B51F6-E8A4-42AF-9877-9671744F6CF8}" srcOrd="2" destOrd="0" parTransId="{715B610E-8309-4C3B-992F-1ED8C24275EB}" sibTransId="{3E0E4339-7747-4F0F-B2BF-C7278AE40532}"/>
    <dgm:cxn modelId="{600E3EFE-BEAE-4CE5-B196-F4659CB95CA2}" type="presOf" srcId="{434B51F6-E8A4-42AF-9877-9671744F6CF8}" destId="{ADFE0003-C8E2-43A7-AD91-A4F84F7F4205}" srcOrd="0" destOrd="5" presId="urn:microsoft.com/office/officeart/2005/8/layout/vList2"/>
    <dgm:cxn modelId="{6543372C-445C-4C6C-B9A0-C5CC21DCD114}" type="presOf" srcId="{ED4CAC81-4620-4B64-B23B-B5AD829B36D1}" destId="{ADFE0003-C8E2-43A7-AD91-A4F84F7F4205}" srcOrd="0" destOrd="7" presId="urn:microsoft.com/office/officeart/2005/8/layout/vList2"/>
    <dgm:cxn modelId="{F0EA2A65-E3C5-46F8-8B09-94A333704203}" type="presOf" srcId="{E81376C4-F6DB-47D2-9192-5A6D94225692}" destId="{ADFE0003-C8E2-43A7-AD91-A4F84F7F4205}" srcOrd="0" destOrd="1" presId="urn:microsoft.com/office/officeart/2005/8/layout/vList2"/>
    <dgm:cxn modelId="{B2DD627B-0F6F-43C8-880E-83F4582819E4}" type="presOf" srcId="{3A63DE43-E9A0-42F5-AFBC-301A0180D499}" destId="{ADFE0003-C8E2-43A7-AD91-A4F84F7F4205}" srcOrd="0" destOrd="0" presId="urn:microsoft.com/office/officeart/2005/8/layout/vList2"/>
    <dgm:cxn modelId="{7EAA3F3C-63FE-4295-A797-CA1DCA1BC4E6}" type="presOf" srcId="{B6E487E3-D46A-4417-B7A6-9FE91C097C61}" destId="{53429D14-92DB-4B4E-943E-AF2C58FB59D0}" srcOrd="0" destOrd="0" presId="urn:microsoft.com/office/officeart/2005/8/layout/vList2"/>
    <dgm:cxn modelId="{B6DDD9B1-382F-40FF-8E19-BFD9719D45D2}" srcId="{7F14D16A-FC7A-484B-BF30-F2C0F5AC9ECF}" destId="{3EFF79C5-449C-419F-8F1F-A7C693F633FE}" srcOrd="3" destOrd="0" parTransId="{AA32851E-E2E3-4311-A34E-C32E6B6C3829}" sibTransId="{42AB932E-3B67-41D0-A5E8-094FC5CEE68A}"/>
    <dgm:cxn modelId="{CD0A6596-F8EF-4AA9-BA46-6CD607C73FE8}" srcId="{7F14D16A-FC7A-484B-BF30-F2C0F5AC9ECF}" destId="{4E7D9A1A-7A27-4671-8B94-6826D66AA69D}" srcOrd="1" destOrd="0" parTransId="{7AC739BB-F36F-44CD-BA03-9FB7062228E5}" sibTransId="{057AC4C3-4A2F-40B2-8AC3-10328566C7DA}"/>
    <dgm:cxn modelId="{22AF8E1B-DA18-4700-810E-81F2D2458490}" srcId="{3619DE1C-FEB4-491C-8F7A-9AB7650FBCEF}" destId="{3A63DE43-E9A0-42F5-AFBC-301A0180D499}" srcOrd="0" destOrd="0" parTransId="{690CE426-90B6-4F69-B9D4-BA57F0EADCA0}" sibTransId="{157B5B79-B29E-4BDF-9CDC-661DF1F5E4F6}"/>
    <dgm:cxn modelId="{5F7DD492-4BF2-4266-A5FE-FB81F4BDFD47}" type="presOf" srcId="{4E7D9A1A-7A27-4671-8B94-6826D66AA69D}" destId="{ADFE0003-C8E2-43A7-AD91-A4F84F7F4205}" srcOrd="0" destOrd="4" presId="urn:microsoft.com/office/officeart/2005/8/layout/vList2"/>
    <dgm:cxn modelId="{F849A57C-43B9-475E-8B2D-4EEECBB57CC4}" type="presOf" srcId="{3EFF79C5-449C-419F-8F1F-A7C693F633FE}" destId="{ADFE0003-C8E2-43A7-AD91-A4F84F7F4205}" srcOrd="0" destOrd="6" presId="urn:microsoft.com/office/officeart/2005/8/layout/vList2"/>
    <dgm:cxn modelId="{C1A8705E-D98D-4272-A3FE-F186A390E45D}" srcId="{7F14D16A-FC7A-484B-BF30-F2C0F5AC9ECF}" destId="{86020327-6F09-4756-A913-0417B2D239F1}" srcOrd="0" destOrd="0" parTransId="{0B283CE4-BB8F-4A68-B501-D6574FB47630}" sibTransId="{1360155C-AE35-4EDE-8A04-C4844B4E0135}"/>
    <dgm:cxn modelId="{EBB47A88-4667-43DE-8225-7CD4BE5F6E6F}" srcId="{B6E487E3-D46A-4417-B7A6-9FE91C097C61}" destId="{3619DE1C-FEB4-491C-8F7A-9AB7650FBCEF}" srcOrd="0" destOrd="0" parTransId="{0E747785-8349-4344-B675-838E84156474}" sibTransId="{4A294269-245C-4AEC-B913-8353AB232A7F}"/>
    <dgm:cxn modelId="{4614AFBF-4911-4BA6-B04F-FE2828A0459D}" type="presOf" srcId="{3619DE1C-FEB4-491C-8F7A-9AB7650FBCEF}" destId="{053B2CDF-8148-4F86-AD92-50484BF3B5B2}" srcOrd="0" destOrd="0" presId="urn:microsoft.com/office/officeart/2005/8/layout/vList2"/>
    <dgm:cxn modelId="{34E8187A-4F25-4E10-816F-F24DA9E466B5}" srcId="{3619DE1C-FEB4-491C-8F7A-9AB7650FBCEF}" destId="{7F14D16A-FC7A-484B-BF30-F2C0F5AC9ECF}" srcOrd="2" destOrd="0" parTransId="{0675F527-3AB2-4769-95A5-4C8A4AF12586}" sibTransId="{56615905-A83C-4246-A470-3CEE108E067F}"/>
    <dgm:cxn modelId="{0B61C372-164F-4F6E-A1B2-1D7A7BAD6B10}" type="presParOf" srcId="{53429D14-92DB-4B4E-943E-AF2C58FB59D0}" destId="{053B2CDF-8148-4F86-AD92-50484BF3B5B2}" srcOrd="0" destOrd="0" presId="urn:microsoft.com/office/officeart/2005/8/layout/vList2"/>
    <dgm:cxn modelId="{7E3C0D9B-102D-4945-9293-7C11E04D2676}" type="presParOf" srcId="{53429D14-92DB-4B4E-943E-AF2C58FB59D0}" destId="{ADFE0003-C8E2-43A7-AD91-A4F84F7F4205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91BB71"/>
        </a:solidFill>
      </dgm:spPr>
      <dgm:t>
        <a:bodyPr/>
        <a:lstStyle/>
        <a:p>
          <a:pPr algn="just"/>
          <a:r>
            <a:rPr lang="ru-RU" sz="1800" dirty="0" smtClean="0"/>
            <a:t>Оформление списков претендентов и направление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6C90640-834A-4BB5-AD69-6E4336148137}" type="presOf" srcId="{7D3EDE78-357E-4F7E-95AF-93BAD733999C}" destId="{B19A45E8-9114-46B8-ABB1-C5D4B5041A75}" srcOrd="0" destOrd="0" presId="urn:microsoft.com/office/officeart/2009/3/layout/IncreasingArrowsProcess"/>
    <dgm:cxn modelId="{AFE5DB36-2F08-4557-B84A-EAA36BC2691A}" type="presOf" srcId="{10FD7243-DBEA-4098-AB4E-C7B7E1209E8F}" destId="{A7217D00-E232-4637-AD75-679D2F048C33}" srcOrd="0" destOrd="0" presId="urn:microsoft.com/office/officeart/2009/3/layout/IncreasingArrowsProcess"/>
    <dgm:cxn modelId="{EC0C058E-22F4-4B4B-A34D-402B0C4B8C60}" type="presOf" srcId="{DCBBB76E-1E80-43CE-A3E4-F678CD28F155}" destId="{EA120FCF-C6AA-4B87-877E-5992B78CA861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D7767D65-4D74-4652-A485-7B0BF396C9B0}" type="presParOf" srcId="{A7217D00-E232-4637-AD75-679D2F048C33}" destId="{B19A45E8-9114-46B8-ABB1-C5D4B5041A75}" srcOrd="0" destOrd="0" presId="urn:microsoft.com/office/officeart/2009/3/layout/IncreasingArrowsProcess"/>
    <dgm:cxn modelId="{8D0C887E-20D6-49F4-A95A-C73C3BF69538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9/3/layout/PieProces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/>
      <dgm:t>
        <a:bodyPr/>
        <a:lstStyle/>
        <a:p>
          <a:pPr algn="ctr"/>
          <a:r>
            <a:rPr lang="ru-RU" sz="2000" dirty="0" smtClean="0"/>
            <a:t>Примеры оформления списка претендентов </a:t>
          </a:r>
          <a:r>
            <a:rPr lang="ru-RU" sz="2000" dirty="0" smtClean="0"/>
            <a:t>(учебные и научные достижения)</a:t>
          </a:r>
          <a:endParaRPr lang="ru-RU" sz="20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45CB2B1D-1BC9-41E7-B8B6-1968758DA0AF}">
      <dgm:prSet phldrT="[Текст]" custT="1"/>
      <dgm:spPr/>
      <dgm:t>
        <a:bodyPr/>
        <a:lstStyle/>
        <a:p>
          <a:r>
            <a:rPr lang="ru-RU" sz="1600" i="1" dirty="0" smtClean="0"/>
            <a:t>Достижение</a:t>
          </a:r>
          <a:r>
            <a:rPr lang="ru-RU" sz="1600" dirty="0" smtClean="0"/>
            <a:t> – 2 место в олимпиаде «</a:t>
          </a:r>
          <a:r>
            <a:rPr lang="en-US" sz="1600" dirty="0" smtClean="0"/>
            <a:t>IT</a:t>
          </a:r>
          <a:r>
            <a:rPr lang="ru-RU" sz="1600" dirty="0" smtClean="0"/>
            <a:t>-Планета» в составе команды вуза на первенстве ЦФО</a:t>
          </a:r>
          <a:endParaRPr lang="ru-RU" sz="1600" dirty="0"/>
        </a:p>
      </dgm:t>
    </dgm:pt>
    <dgm:pt modelId="{A80E1FE8-DFA4-4DFA-8786-5E214EF9BC16}" type="parTrans" cxnId="{C942BC63-0025-40CF-B782-2C21F109BF84}">
      <dgm:prSet/>
      <dgm:spPr/>
      <dgm:t>
        <a:bodyPr/>
        <a:lstStyle/>
        <a:p>
          <a:endParaRPr lang="ru-RU"/>
        </a:p>
      </dgm:t>
    </dgm:pt>
    <dgm:pt modelId="{5DCDE55F-51FB-4D89-97CA-F092F930127B}" type="sibTrans" cxnId="{C942BC63-0025-40CF-B782-2C21F109BF84}">
      <dgm:prSet/>
      <dgm:spPr/>
      <dgm:t>
        <a:bodyPr/>
        <a:lstStyle/>
        <a:p>
          <a:endParaRPr lang="ru-RU"/>
        </a:p>
      </dgm:t>
    </dgm:pt>
    <dgm:pt modelId="{61DCA6DC-15E1-48CE-9E77-9B000EF04E38}">
      <dgm:prSet phldrT="[Текст]" custT="1"/>
      <dgm:spPr/>
      <dgm:t>
        <a:bodyPr/>
        <a:lstStyle/>
        <a:p>
          <a:r>
            <a:rPr lang="ru-RU" sz="1600" i="1" u="none" dirty="0" smtClean="0"/>
            <a:t>Отражение в Списке:</a:t>
          </a:r>
          <a:endParaRPr lang="ru-RU" sz="1600" i="1" u="none" dirty="0"/>
        </a:p>
      </dgm:t>
    </dgm:pt>
    <dgm:pt modelId="{ABF92BE0-3ACD-433E-BFD8-B2C81C9DBBCC}" type="parTrans" cxnId="{4C3CF255-69C7-4173-A199-79E5268FE933}">
      <dgm:prSet/>
      <dgm:spPr/>
      <dgm:t>
        <a:bodyPr/>
        <a:lstStyle/>
        <a:p>
          <a:endParaRPr lang="ru-RU"/>
        </a:p>
      </dgm:t>
    </dgm:pt>
    <dgm:pt modelId="{B28DC5AC-1DD8-4783-AAEF-8B27E708F98B}" type="sibTrans" cxnId="{4C3CF255-69C7-4173-A199-79E5268FE933}">
      <dgm:prSet/>
      <dgm:spPr/>
      <dgm:t>
        <a:bodyPr/>
        <a:lstStyle/>
        <a:p>
          <a:endParaRPr lang="ru-RU"/>
        </a:p>
      </dgm:t>
    </dgm:pt>
    <dgm:pt modelId="{5F4A7176-2C00-4BD6-A344-93524B91796E}">
      <dgm:prSet phldrT="[Текст]" custT="1"/>
      <dgm:spPr/>
      <dgm:t>
        <a:bodyPr/>
        <a:lstStyle/>
        <a:p>
          <a:r>
            <a:rPr lang="ru-RU" sz="1600" i="1" u="none" dirty="0" smtClean="0"/>
            <a:t>Достижение </a:t>
          </a:r>
          <a:r>
            <a:rPr lang="ru-RU" sz="1600" i="1" u="none" dirty="0" smtClean="0"/>
            <a:t>–</a:t>
          </a:r>
          <a:r>
            <a:rPr lang="ru-RU" sz="2000" u="none" dirty="0" smtClean="0"/>
            <a:t> </a:t>
          </a:r>
          <a:r>
            <a:rPr lang="ru-RU" sz="1600" u="none" dirty="0" smtClean="0"/>
            <a:t>1 место с докладом на конференции технических вузов</a:t>
          </a:r>
          <a:endParaRPr lang="ru-RU" sz="1600" u="none" dirty="0" smtClean="0"/>
        </a:p>
        <a:p>
          <a:r>
            <a:rPr lang="ru-RU" sz="1600" i="1" u="none" dirty="0" smtClean="0"/>
            <a:t>Отражение в Списке:</a:t>
          </a:r>
        </a:p>
        <a:p>
          <a:r>
            <a:rPr lang="ru-RU" sz="1600" u="sng" dirty="0" smtClean="0"/>
            <a:t>ВД – 1 – победитель</a:t>
          </a:r>
          <a:endParaRPr lang="ru-RU" sz="2000" u="sng" dirty="0"/>
        </a:p>
      </dgm:t>
    </dgm:pt>
    <dgm:pt modelId="{D6FD8BC3-0857-4BE6-B2BD-EFD9AEBE9C83}" type="parTrans" cxnId="{2238716E-7BB5-4C3D-8A10-7CB3AF6F7621}">
      <dgm:prSet/>
      <dgm:spPr/>
      <dgm:t>
        <a:bodyPr/>
        <a:lstStyle/>
        <a:p>
          <a:endParaRPr lang="ru-RU"/>
        </a:p>
      </dgm:t>
    </dgm:pt>
    <dgm:pt modelId="{64C725C8-4F7D-49CD-8486-7A31DD2D2711}" type="sibTrans" cxnId="{2238716E-7BB5-4C3D-8A10-7CB3AF6F7621}">
      <dgm:prSet/>
      <dgm:spPr/>
      <dgm:t>
        <a:bodyPr/>
        <a:lstStyle/>
        <a:p>
          <a:endParaRPr lang="ru-RU"/>
        </a:p>
      </dgm:t>
    </dgm:pt>
    <dgm:pt modelId="{9580F4FF-B1D8-4054-BBBB-5D902DCFEEF5}">
      <dgm:prSet phldrT="[Текст]" custT="1"/>
      <dgm:spPr/>
      <dgm:t>
        <a:bodyPr/>
        <a:lstStyle/>
        <a:p>
          <a:r>
            <a:rPr lang="ru-RU" sz="1600" u="sng" dirty="0" smtClean="0"/>
            <a:t>МР О </a:t>
          </a:r>
          <a:r>
            <a:rPr lang="ru-RU" sz="1600" u="sng" dirty="0" smtClean="0"/>
            <a:t>– </a:t>
          </a:r>
          <a:r>
            <a:rPr lang="ru-RU" sz="1600" u="sng" dirty="0" smtClean="0"/>
            <a:t>1 </a:t>
          </a:r>
          <a:r>
            <a:rPr lang="ru-RU" sz="1600" u="sng" dirty="0" smtClean="0"/>
            <a:t>– </a:t>
          </a:r>
          <a:r>
            <a:rPr lang="ru-RU" sz="1600" u="sng" dirty="0" smtClean="0"/>
            <a:t>призер (в команде)</a:t>
          </a:r>
          <a:r>
            <a:rPr lang="ru-RU" sz="1800" u="sng" dirty="0" smtClean="0"/>
            <a:t>.</a:t>
          </a:r>
          <a:endParaRPr lang="ru-RU" sz="1800" u="sng" dirty="0"/>
        </a:p>
      </dgm:t>
    </dgm:pt>
    <dgm:pt modelId="{0FA40BB7-D5BE-4594-B837-CDFBDB060568}" type="parTrans" cxnId="{8726522B-9145-4954-9EC9-481EEC6FA94D}">
      <dgm:prSet/>
      <dgm:spPr/>
      <dgm:t>
        <a:bodyPr/>
        <a:lstStyle/>
        <a:p>
          <a:endParaRPr lang="ru-RU"/>
        </a:p>
      </dgm:t>
    </dgm:pt>
    <dgm:pt modelId="{2C6AC5D0-51A3-4BA6-8C11-F55C3D745135}" type="sibTrans" cxnId="{8726522B-9145-4954-9EC9-481EEC6FA94D}">
      <dgm:prSet/>
      <dgm:spPr/>
      <dgm:t>
        <a:bodyPr/>
        <a:lstStyle/>
        <a:p>
          <a:endParaRPr lang="ru-RU"/>
        </a:p>
      </dgm:t>
    </dgm:pt>
    <dgm:pt modelId="{F060688F-9B04-44CE-9B70-0F35415BB3EF}" type="pres">
      <dgm:prSet presAssocID="{B6E487E3-D46A-4417-B7A6-9FE91C097C61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A9D40B60-1C16-4514-BD8E-335B6D20045B}" type="pres">
      <dgm:prSet presAssocID="{3619DE1C-FEB4-491C-8F7A-9AB7650FBCEF}" presName="ParentComposite" presStyleCnt="0"/>
      <dgm:spPr/>
    </dgm:pt>
    <dgm:pt modelId="{10BF4BA0-0DA0-48D0-B932-9B7CF076CF11}" type="pres">
      <dgm:prSet presAssocID="{3619DE1C-FEB4-491C-8F7A-9AB7650FBCEF}" presName="Chord" presStyleLbl="bgShp" presStyleIdx="0" presStyleCnt="1" custScaleX="43748" custScaleY="81922" custLinFactNeighborX="59337" custLinFactNeighborY="84834"/>
      <dgm:spPr>
        <a:prstGeom prst="rightArrow">
          <a:avLst/>
        </a:prstGeom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endParaRPr lang="ru-RU"/>
        </a:p>
      </dgm:t>
    </dgm:pt>
    <dgm:pt modelId="{8A24ECD1-E4B3-409F-BA44-089A6FFCA0BC}" type="pres">
      <dgm:prSet presAssocID="{3619DE1C-FEB4-491C-8F7A-9AB7650FBCEF}" presName="Pie" presStyleLbl="alignNode1" presStyleIdx="0" presStyleCnt="1" custAng="5400000" custLinFactX="-100000" custLinFactY="191324" custLinFactNeighborX="-148089" custLinFactNeighborY="200000"/>
      <dgm:spPr/>
    </dgm:pt>
    <dgm:pt modelId="{1814C793-3471-4416-BFF5-12668A4F8868}" type="pres">
      <dgm:prSet presAssocID="{3619DE1C-FEB4-491C-8F7A-9AB7650FBCEF}" presName="Parent" presStyleLbl="revTx" presStyleIdx="0" presStyleCnt="2" custScaleY="108117" custLinFactX="-102427" custLinFactNeighborX="-200000" custLinFactNeighborY="-3088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89AD23-3C29-484D-A8C5-A7FF3EEC062F}" type="pres">
      <dgm:prSet presAssocID="{5DCDE55F-51FB-4D89-97CA-F092F930127B}" presName="negSibTrans" presStyleCnt="0"/>
      <dgm:spPr/>
    </dgm:pt>
    <dgm:pt modelId="{AA520C88-0EFD-4F93-AF45-E65A58A3E395}" type="pres">
      <dgm:prSet presAssocID="{3619DE1C-FEB4-491C-8F7A-9AB7650FBCEF}" presName="composite" presStyleCnt="0"/>
      <dgm:spPr/>
    </dgm:pt>
    <dgm:pt modelId="{84E95C1E-FCFB-46DE-BC1B-A5A962BE3339}" type="pres">
      <dgm:prSet presAssocID="{3619DE1C-FEB4-491C-8F7A-9AB7650FBCEF}" presName="Child" presStyleLbl="revTx" presStyleIdx="1" presStyleCnt="2" custScaleX="120211" custScaleY="82090" custLinFactNeighborX="-81884" custLinFactNeighborY="27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C323187-9097-45A7-94D6-34ABB5312E07}" type="presOf" srcId="{5F4A7176-2C00-4BD6-A344-93524B91796E}" destId="{84E95C1E-FCFB-46DE-BC1B-A5A962BE3339}" srcOrd="0" destOrd="3" presId="urn:microsoft.com/office/officeart/2009/3/layout/PieProcess"/>
    <dgm:cxn modelId="{2238716E-7BB5-4C3D-8A10-7CB3AF6F7621}" srcId="{3619DE1C-FEB4-491C-8F7A-9AB7650FBCEF}" destId="{5F4A7176-2C00-4BD6-A344-93524B91796E}" srcOrd="3" destOrd="0" parTransId="{D6FD8BC3-0857-4BE6-B2BD-EFD9AEBE9C83}" sibTransId="{64C725C8-4F7D-49CD-8486-7A31DD2D2711}"/>
    <dgm:cxn modelId="{74C6E2F5-E3EF-4382-9373-9A62A4029E5B}" type="presOf" srcId="{3619DE1C-FEB4-491C-8F7A-9AB7650FBCEF}" destId="{1814C793-3471-4416-BFF5-12668A4F8868}" srcOrd="0" destOrd="0" presId="urn:microsoft.com/office/officeart/2009/3/layout/PieProcess"/>
    <dgm:cxn modelId="{8726522B-9145-4954-9EC9-481EEC6FA94D}" srcId="{3619DE1C-FEB4-491C-8F7A-9AB7650FBCEF}" destId="{9580F4FF-B1D8-4054-BBBB-5D902DCFEEF5}" srcOrd="2" destOrd="0" parTransId="{0FA40BB7-D5BE-4594-B837-CDFBDB060568}" sibTransId="{2C6AC5D0-51A3-4BA6-8C11-F55C3D745135}"/>
    <dgm:cxn modelId="{4C3CF255-69C7-4173-A199-79E5268FE933}" srcId="{3619DE1C-FEB4-491C-8F7A-9AB7650FBCEF}" destId="{61DCA6DC-15E1-48CE-9E77-9B000EF04E38}" srcOrd="1" destOrd="0" parTransId="{ABF92BE0-3ACD-433E-BFD8-B2C81C9DBBCC}" sibTransId="{B28DC5AC-1DD8-4783-AAEF-8B27E708F98B}"/>
    <dgm:cxn modelId="{BF3B57FF-53E0-404B-B6A7-AFE8505ACF65}" type="presOf" srcId="{9580F4FF-B1D8-4054-BBBB-5D902DCFEEF5}" destId="{84E95C1E-FCFB-46DE-BC1B-A5A962BE3339}" srcOrd="0" destOrd="2" presId="urn:microsoft.com/office/officeart/2009/3/layout/PieProcess"/>
    <dgm:cxn modelId="{C942BC63-0025-40CF-B782-2C21F109BF84}" srcId="{3619DE1C-FEB4-491C-8F7A-9AB7650FBCEF}" destId="{45CB2B1D-1BC9-41E7-B8B6-1968758DA0AF}" srcOrd="0" destOrd="0" parTransId="{A80E1FE8-DFA4-4DFA-8786-5E214EF9BC16}" sibTransId="{5DCDE55F-51FB-4D89-97CA-F092F930127B}"/>
    <dgm:cxn modelId="{D1485A38-C789-4156-B293-095021E3084B}" type="presOf" srcId="{45CB2B1D-1BC9-41E7-B8B6-1968758DA0AF}" destId="{84E95C1E-FCFB-46DE-BC1B-A5A962BE3339}" srcOrd="0" destOrd="0" presId="urn:microsoft.com/office/officeart/2009/3/layout/PieProcess"/>
    <dgm:cxn modelId="{CCA85FDB-60B5-4F44-87B8-0E15B885A6F7}" type="presOf" srcId="{61DCA6DC-15E1-48CE-9E77-9B000EF04E38}" destId="{84E95C1E-FCFB-46DE-BC1B-A5A962BE3339}" srcOrd="0" destOrd="1" presId="urn:microsoft.com/office/officeart/2009/3/layout/PieProcess"/>
    <dgm:cxn modelId="{92CD63D9-3869-45CC-BEAF-A71B5A44AFFB}" type="presOf" srcId="{B6E487E3-D46A-4417-B7A6-9FE91C097C61}" destId="{F060688F-9B04-44CE-9B70-0F35415BB3EF}" srcOrd="0" destOrd="0" presId="urn:microsoft.com/office/officeart/2009/3/layout/PieProcess"/>
    <dgm:cxn modelId="{EBB47A88-4667-43DE-8225-7CD4BE5F6E6F}" srcId="{B6E487E3-D46A-4417-B7A6-9FE91C097C61}" destId="{3619DE1C-FEB4-491C-8F7A-9AB7650FBCEF}" srcOrd="0" destOrd="0" parTransId="{0E747785-8349-4344-B675-838E84156474}" sibTransId="{4A294269-245C-4AEC-B913-8353AB232A7F}"/>
    <dgm:cxn modelId="{64AC4591-B0F1-421D-AE3F-612DA40231AE}" type="presParOf" srcId="{F060688F-9B04-44CE-9B70-0F35415BB3EF}" destId="{A9D40B60-1C16-4514-BD8E-335B6D20045B}" srcOrd="0" destOrd="0" presId="urn:microsoft.com/office/officeart/2009/3/layout/PieProcess"/>
    <dgm:cxn modelId="{FBE63B4E-DB97-46CA-8DCA-CF2B3FCAEC89}" type="presParOf" srcId="{A9D40B60-1C16-4514-BD8E-335B6D20045B}" destId="{10BF4BA0-0DA0-48D0-B932-9B7CF076CF11}" srcOrd="0" destOrd="0" presId="urn:microsoft.com/office/officeart/2009/3/layout/PieProcess"/>
    <dgm:cxn modelId="{A338C7BE-5CE1-4266-9FED-A0718BEC8A43}" type="presParOf" srcId="{A9D40B60-1C16-4514-BD8E-335B6D20045B}" destId="{8A24ECD1-E4B3-409F-BA44-089A6FFCA0BC}" srcOrd="1" destOrd="0" presId="urn:microsoft.com/office/officeart/2009/3/layout/PieProcess"/>
    <dgm:cxn modelId="{1792DD42-A998-4DB1-8575-FF8916ED346F}" type="presParOf" srcId="{A9D40B60-1C16-4514-BD8E-335B6D20045B}" destId="{1814C793-3471-4416-BFF5-12668A4F8868}" srcOrd="2" destOrd="0" presId="urn:microsoft.com/office/officeart/2009/3/layout/PieProcess"/>
    <dgm:cxn modelId="{D098E445-AAC2-4268-8756-59720A4196D1}" type="presParOf" srcId="{F060688F-9B04-44CE-9B70-0F35415BB3EF}" destId="{F989AD23-3C29-484D-A8C5-A7FF3EEC062F}" srcOrd="1" destOrd="0" presId="urn:microsoft.com/office/officeart/2009/3/layout/PieProcess"/>
    <dgm:cxn modelId="{C6BC5F8D-21C7-4FA8-8B34-67B45B3E0FDF}" type="presParOf" srcId="{F060688F-9B04-44CE-9B70-0F35415BB3EF}" destId="{AA520C88-0EFD-4F93-AF45-E65A58A3E395}" srcOrd="2" destOrd="0" presId="urn:microsoft.com/office/officeart/2009/3/layout/PieProcess"/>
    <dgm:cxn modelId="{D78C180E-917B-4603-9364-B604C9584C76}" type="presParOf" srcId="{AA520C88-0EFD-4F93-AF45-E65A58A3E395}" destId="{84E95C1E-FCFB-46DE-BC1B-A5A962BE3339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91BB71"/>
        </a:solidFill>
      </dgm:spPr>
      <dgm:t>
        <a:bodyPr/>
        <a:lstStyle/>
        <a:p>
          <a:pPr algn="just"/>
          <a:r>
            <a:rPr lang="ru-RU" sz="1800" dirty="0" smtClean="0"/>
            <a:t>Оформление списков претендентов и направление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17C292F-8630-4B98-8701-D964630862CF}" type="presOf" srcId="{7D3EDE78-357E-4F7E-95AF-93BAD733999C}" destId="{B19A45E8-9114-46B8-ABB1-C5D4B5041A75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C7D6E104-ECBE-4564-9A63-8E941FB91E33}" type="presOf" srcId="{10FD7243-DBEA-4098-AB4E-C7B7E1209E8F}" destId="{A7217D00-E232-4637-AD75-679D2F048C3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0D26B4B8-C68C-4056-8E53-B40C40C2C006}" type="presOf" srcId="{DCBBB76E-1E80-43CE-A3E4-F678CD28F155}" destId="{EA120FCF-C6AA-4B87-877E-5992B78CA861}" srcOrd="0" destOrd="0" presId="urn:microsoft.com/office/officeart/2009/3/layout/IncreasingArrowsProcess"/>
    <dgm:cxn modelId="{890B21B7-1C6E-4674-91BE-B8A4E8317191}" type="presParOf" srcId="{A7217D00-E232-4637-AD75-679D2F048C33}" destId="{B19A45E8-9114-46B8-ABB1-C5D4B5041A75}" srcOrd="0" destOrd="0" presId="urn:microsoft.com/office/officeart/2009/3/layout/IncreasingArrowsProcess"/>
    <dgm:cxn modelId="{BB2C51AC-E39B-433F-ACDD-6CAA3FC96457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9/3/layout/PieProces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/>
      <dgm:t>
        <a:bodyPr/>
        <a:lstStyle/>
        <a:p>
          <a:pPr algn="ctr"/>
          <a:r>
            <a:rPr lang="ru-RU" sz="2000" smtClean="0"/>
            <a:t>Примеры оформления списка претендентов (публикации)</a:t>
          </a:r>
          <a:endParaRPr lang="ru-RU" sz="20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45CB2B1D-1BC9-41E7-B8B6-1968758DA0AF}">
      <dgm:prSet phldrT="[Текст]" custT="1"/>
      <dgm:spPr/>
      <dgm:t>
        <a:bodyPr/>
        <a:lstStyle/>
        <a:p>
          <a:r>
            <a:rPr lang="ru-RU" sz="1600" i="1" dirty="0" smtClean="0"/>
            <a:t>Достижения</a:t>
          </a:r>
          <a:r>
            <a:rPr lang="ru-RU" sz="1600" dirty="0" smtClean="0"/>
            <a:t> - Тезисы докладов на двух межвузовских конференциях:</a:t>
          </a:r>
        </a:p>
        <a:p>
          <a:r>
            <a:rPr lang="ru-RU" sz="1600" dirty="0" smtClean="0"/>
            <a:t>…..  в объеме 0,4 </a:t>
          </a:r>
          <a:r>
            <a:rPr lang="ru-RU" sz="1600" dirty="0" err="1" smtClean="0"/>
            <a:t>п.л</a:t>
          </a:r>
          <a:r>
            <a:rPr lang="ru-RU" sz="1600" dirty="0" smtClean="0"/>
            <a:t>.</a:t>
          </a:r>
        </a:p>
        <a:p>
          <a:r>
            <a:rPr lang="ru-RU" sz="1600" dirty="0" smtClean="0"/>
            <a:t>….. в объеме 0,2 </a:t>
          </a:r>
          <a:r>
            <a:rPr lang="ru-RU" sz="1600" dirty="0" err="1" smtClean="0"/>
            <a:t>п.л</a:t>
          </a:r>
          <a:r>
            <a:rPr lang="ru-RU" sz="1600" dirty="0" smtClean="0"/>
            <a:t>.</a:t>
          </a:r>
          <a:endParaRPr lang="ru-RU" sz="1600" dirty="0"/>
        </a:p>
      </dgm:t>
    </dgm:pt>
    <dgm:pt modelId="{A80E1FE8-DFA4-4DFA-8786-5E214EF9BC16}" type="parTrans" cxnId="{C942BC63-0025-40CF-B782-2C21F109BF84}">
      <dgm:prSet/>
      <dgm:spPr/>
      <dgm:t>
        <a:bodyPr/>
        <a:lstStyle/>
        <a:p>
          <a:endParaRPr lang="ru-RU"/>
        </a:p>
      </dgm:t>
    </dgm:pt>
    <dgm:pt modelId="{5DCDE55F-51FB-4D89-97CA-F092F930127B}" type="sibTrans" cxnId="{C942BC63-0025-40CF-B782-2C21F109BF84}">
      <dgm:prSet/>
      <dgm:spPr/>
      <dgm:t>
        <a:bodyPr/>
        <a:lstStyle/>
        <a:p>
          <a:endParaRPr lang="ru-RU"/>
        </a:p>
      </dgm:t>
    </dgm:pt>
    <dgm:pt modelId="{61DCA6DC-15E1-48CE-9E77-9B000EF04E38}">
      <dgm:prSet phldrT="[Текст]" custT="1"/>
      <dgm:spPr/>
      <dgm:t>
        <a:bodyPr/>
        <a:lstStyle/>
        <a:p>
          <a:r>
            <a:rPr lang="ru-RU" sz="1600" i="1" u="none" dirty="0" smtClean="0"/>
            <a:t>Отражение в Списке:</a:t>
          </a:r>
          <a:endParaRPr lang="ru-RU" sz="1600" i="1" u="none" dirty="0"/>
        </a:p>
      </dgm:t>
    </dgm:pt>
    <dgm:pt modelId="{ABF92BE0-3ACD-433E-BFD8-B2C81C9DBBCC}" type="parTrans" cxnId="{4C3CF255-69C7-4173-A199-79E5268FE933}">
      <dgm:prSet/>
      <dgm:spPr/>
      <dgm:t>
        <a:bodyPr/>
        <a:lstStyle/>
        <a:p>
          <a:endParaRPr lang="ru-RU"/>
        </a:p>
      </dgm:t>
    </dgm:pt>
    <dgm:pt modelId="{B28DC5AC-1DD8-4783-AAEF-8B27E708F98B}" type="sibTrans" cxnId="{4C3CF255-69C7-4173-A199-79E5268FE933}">
      <dgm:prSet/>
      <dgm:spPr/>
      <dgm:t>
        <a:bodyPr/>
        <a:lstStyle/>
        <a:p>
          <a:endParaRPr lang="ru-RU"/>
        </a:p>
      </dgm:t>
    </dgm:pt>
    <dgm:pt modelId="{5F4A7176-2C00-4BD6-A344-93524B91796E}">
      <dgm:prSet phldrT="[Текст]" custT="1"/>
      <dgm:spPr/>
      <dgm:t>
        <a:bodyPr/>
        <a:lstStyle/>
        <a:p>
          <a:r>
            <a:rPr lang="ru-RU" sz="1600" i="1" u="none" dirty="0" smtClean="0"/>
            <a:t>Достижение -</a:t>
          </a:r>
          <a:r>
            <a:rPr lang="ru-RU" sz="2000" u="none" dirty="0" smtClean="0"/>
            <a:t> </a:t>
          </a:r>
          <a:r>
            <a:rPr lang="ru-RU" sz="1600" u="none" dirty="0" smtClean="0"/>
            <a:t>Статья в научном журнале списка ВАК в объеме 1 </a:t>
          </a:r>
          <a:r>
            <a:rPr lang="ru-RU" sz="1600" u="none" dirty="0" err="1" smtClean="0"/>
            <a:t>п.л</a:t>
          </a:r>
          <a:r>
            <a:rPr lang="ru-RU" sz="1600" u="none" dirty="0" smtClean="0"/>
            <a:t>.</a:t>
          </a:r>
        </a:p>
        <a:p>
          <a:r>
            <a:rPr lang="ru-RU" sz="1600" i="1" u="none" dirty="0" smtClean="0"/>
            <a:t>Отражение в Списке:</a:t>
          </a:r>
        </a:p>
        <a:p>
          <a:r>
            <a:rPr lang="ru-RU" sz="1600" u="sng" dirty="0" smtClean="0"/>
            <a:t>ВАК – 1 – 1 </a:t>
          </a:r>
          <a:r>
            <a:rPr lang="ru-RU" sz="1600" u="sng" dirty="0" err="1" smtClean="0"/>
            <a:t>п.л</a:t>
          </a:r>
          <a:r>
            <a:rPr lang="ru-RU" sz="2000" u="sng" dirty="0" smtClean="0"/>
            <a:t>.</a:t>
          </a:r>
          <a:endParaRPr lang="ru-RU" sz="2000" u="sng" dirty="0"/>
        </a:p>
      </dgm:t>
    </dgm:pt>
    <dgm:pt modelId="{D6FD8BC3-0857-4BE6-B2BD-EFD9AEBE9C83}" type="parTrans" cxnId="{2238716E-7BB5-4C3D-8A10-7CB3AF6F7621}">
      <dgm:prSet/>
      <dgm:spPr/>
      <dgm:t>
        <a:bodyPr/>
        <a:lstStyle/>
        <a:p>
          <a:endParaRPr lang="ru-RU"/>
        </a:p>
      </dgm:t>
    </dgm:pt>
    <dgm:pt modelId="{64C725C8-4F7D-49CD-8486-7A31DD2D2711}" type="sibTrans" cxnId="{2238716E-7BB5-4C3D-8A10-7CB3AF6F7621}">
      <dgm:prSet/>
      <dgm:spPr/>
      <dgm:t>
        <a:bodyPr/>
        <a:lstStyle/>
        <a:p>
          <a:endParaRPr lang="ru-RU"/>
        </a:p>
      </dgm:t>
    </dgm:pt>
    <dgm:pt modelId="{9580F4FF-B1D8-4054-BBBB-5D902DCFEEF5}">
      <dgm:prSet phldrT="[Текст]" custT="1"/>
      <dgm:spPr/>
      <dgm:t>
        <a:bodyPr/>
        <a:lstStyle/>
        <a:p>
          <a:r>
            <a:rPr lang="ru-RU" sz="1600" u="sng" dirty="0" smtClean="0"/>
            <a:t>МВ КФ – 2 – 0,6 </a:t>
          </a:r>
          <a:r>
            <a:rPr lang="ru-RU" sz="1600" u="sng" dirty="0" err="1" smtClean="0"/>
            <a:t>п.л</a:t>
          </a:r>
          <a:r>
            <a:rPr lang="ru-RU" sz="1800" u="sng" dirty="0" smtClean="0"/>
            <a:t>.</a:t>
          </a:r>
          <a:endParaRPr lang="ru-RU" sz="1800" u="sng" dirty="0"/>
        </a:p>
      </dgm:t>
    </dgm:pt>
    <dgm:pt modelId="{0FA40BB7-D5BE-4594-B837-CDFBDB060568}" type="parTrans" cxnId="{8726522B-9145-4954-9EC9-481EEC6FA94D}">
      <dgm:prSet/>
      <dgm:spPr/>
      <dgm:t>
        <a:bodyPr/>
        <a:lstStyle/>
        <a:p>
          <a:endParaRPr lang="ru-RU"/>
        </a:p>
      </dgm:t>
    </dgm:pt>
    <dgm:pt modelId="{2C6AC5D0-51A3-4BA6-8C11-F55C3D745135}" type="sibTrans" cxnId="{8726522B-9145-4954-9EC9-481EEC6FA94D}">
      <dgm:prSet/>
      <dgm:spPr/>
      <dgm:t>
        <a:bodyPr/>
        <a:lstStyle/>
        <a:p>
          <a:endParaRPr lang="ru-RU"/>
        </a:p>
      </dgm:t>
    </dgm:pt>
    <dgm:pt modelId="{F060688F-9B04-44CE-9B70-0F35415BB3EF}" type="pres">
      <dgm:prSet presAssocID="{B6E487E3-D46A-4417-B7A6-9FE91C097C61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A9D40B60-1C16-4514-BD8E-335B6D20045B}" type="pres">
      <dgm:prSet presAssocID="{3619DE1C-FEB4-491C-8F7A-9AB7650FBCEF}" presName="ParentComposite" presStyleCnt="0"/>
      <dgm:spPr/>
    </dgm:pt>
    <dgm:pt modelId="{10BF4BA0-0DA0-48D0-B932-9B7CF076CF11}" type="pres">
      <dgm:prSet presAssocID="{3619DE1C-FEB4-491C-8F7A-9AB7650FBCEF}" presName="Chord" presStyleLbl="bgShp" presStyleIdx="0" presStyleCnt="1" custScaleX="43748" custScaleY="81922" custLinFactNeighborX="44365" custLinFactNeighborY="37768"/>
      <dgm:spPr>
        <a:prstGeom prst="rightArrow">
          <a:avLst/>
        </a:prstGeom>
        <a:solidFill>
          <a:schemeClr val="accent6">
            <a:lumMod val="40000"/>
            <a:lumOff val="60000"/>
          </a:schemeClr>
        </a:solidFill>
      </dgm:spPr>
    </dgm:pt>
    <dgm:pt modelId="{8A24ECD1-E4B3-409F-BA44-089A6FFCA0BC}" type="pres">
      <dgm:prSet presAssocID="{3619DE1C-FEB4-491C-8F7A-9AB7650FBCEF}" presName="Pie" presStyleLbl="alignNode1" presStyleIdx="0" presStyleCnt="1" custAng="5400000" custLinFactX="-100000" custLinFactY="191324" custLinFactNeighborX="-148089" custLinFactNeighborY="200000"/>
      <dgm:spPr/>
    </dgm:pt>
    <dgm:pt modelId="{1814C793-3471-4416-BFF5-12668A4F8868}" type="pres">
      <dgm:prSet presAssocID="{3619DE1C-FEB4-491C-8F7A-9AB7650FBCEF}" presName="Parent" presStyleLbl="revTx" presStyleIdx="0" presStyleCnt="2" custScaleY="97732" custLinFactX="-124069" custLinFactNeighborX="-200000" custLinFactNeighborY="-30135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89AD23-3C29-484D-A8C5-A7FF3EEC062F}" type="pres">
      <dgm:prSet presAssocID="{5DCDE55F-51FB-4D89-97CA-F092F930127B}" presName="negSibTrans" presStyleCnt="0"/>
      <dgm:spPr/>
    </dgm:pt>
    <dgm:pt modelId="{AA520C88-0EFD-4F93-AF45-E65A58A3E395}" type="pres">
      <dgm:prSet presAssocID="{3619DE1C-FEB4-491C-8F7A-9AB7650FBCEF}" presName="composite" presStyleCnt="0"/>
      <dgm:spPr/>
    </dgm:pt>
    <dgm:pt modelId="{84E95C1E-FCFB-46DE-BC1B-A5A962BE3339}" type="pres">
      <dgm:prSet presAssocID="{3619DE1C-FEB4-491C-8F7A-9AB7650FBCEF}" presName="Child" presStyleLbl="revTx" presStyleIdx="1" presStyleCnt="2" custScaleX="101902" custScaleY="82090" custLinFactNeighborX="-81884" custLinFactNeighborY="27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35E6D4D-FD40-47A7-84C4-3BFEB56FEA58}" type="presOf" srcId="{9580F4FF-B1D8-4054-BBBB-5D902DCFEEF5}" destId="{84E95C1E-FCFB-46DE-BC1B-A5A962BE3339}" srcOrd="0" destOrd="2" presId="urn:microsoft.com/office/officeart/2009/3/layout/PieProcess"/>
    <dgm:cxn modelId="{9533AB00-97D0-44DF-A328-CBF8CAE628D5}" type="presOf" srcId="{B6E487E3-D46A-4417-B7A6-9FE91C097C61}" destId="{F060688F-9B04-44CE-9B70-0F35415BB3EF}" srcOrd="0" destOrd="0" presId="urn:microsoft.com/office/officeart/2009/3/layout/PieProcess"/>
    <dgm:cxn modelId="{4C3CF255-69C7-4173-A199-79E5268FE933}" srcId="{3619DE1C-FEB4-491C-8F7A-9AB7650FBCEF}" destId="{61DCA6DC-15E1-48CE-9E77-9B000EF04E38}" srcOrd="1" destOrd="0" parTransId="{ABF92BE0-3ACD-433E-BFD8-B2C81C9DBBCC}" sibTransId="{B28DC5AC-1DD8-4783-AAEF-8B27E708F98B}"/>
    <dgm:cxn modelId="{2238716E-7BB5-4C3D-8A10-7CB3AF6F7621}" srcId="{3619DE1C-FEB4-491C-8F7A-9AB7650FBCEF}" destId="{5F4A7176-2C00-4BD6-A344-93524B91796E}" srcOrd="3" destOrd="0" parTransId="{D6FD8BC3-0857-4BE6-B2BD-EFD9AEBE9C83}" sibTransId="{64C725C8-4F7D-49CD-8486-7A31DD2D2711}"/>
    <dgm:cxn modelId="{531B87E8-FCC6-4332-8A45-D3630396E930}" type="presOf" srcId="{61DCA6DC-15E1-48CE-9E77-9B000EF04E38}" destId="{84E95C1E-FCFB-46DE-BC1B-A5A962BE3339}" srcOrd="0" destOrd="1" presId="urn:microsoft.com/office/officeart/2009/3/layout/PieProcess"/>
    <dgm:cxn modelId="{C942BC63-0025-40CF-B782-2C21F109BF84}" srcId="{3619DE1C-FEB4-491C-8F7A-9AB7650FBCEF}" destId="{45CB2B1D-1BC9-41E7-B8B6-1968758DA0AF}" srcOrd="0" destOrd="0" parTransId="{A80E1FE8-DFA4-4DFA-8786-5E214EF9BC16}" sibTransId="{5DCDE55F-51FB-4D89-97CA-F092F930127B}"/>
    <dgm:cxn modelId="{0CFD91F8-B9F1-42A6-8036-A4540F8294ED}" type="presOf" srcId="{5F4A7176-2C00-4BD6-A344-93524B91796E}" destId="{84E95C1E-FCFB-46DE-BC1B-A5A962BE3339}" srcOrd="0" destOrd="3" presId="urn:microsoft.com/office/officeart/2009/3/layout/PieProcess"/>
    <dgm:cxn modelId="{CFB2AF98-CF18-4CEA-AD95-7FEF00075365}" type="presOf" srcId="{45CB2B1D-1BC9-41E7-B8B6-1968758DA0AF}" destId="{84E95C1E-FCFB-46DE-BC1B-A5A962BE3339}" srcOrd="0" destOrd="0" presId="urn:microsoft.com/office/officeart/2009/3/layout/PieProcess"/>
    <dgm:cxn modelId="{EBB47A88-4667-43DE-8225-7CD4BE5F6E6F}" srcId="{B6E487E3-D46A-4417-B7A6-9FE91C097C61}" destId="{3619DE1C-FEB4-491C-8F7A-9AB7650FBCEF}" srcOrd="0" destOrd="0" parTransId="{0E747785-8349-4344-B675-838E84156474}" sibTransId="{4A294269-245C-4AEC-B913-8353AB232A7F}"/>
    <dgm:cxn modelId="{8726522B-9145-4954-9EC9-481EEC6FA94D}" srcId="{3619DE1C-FEB4-491C-8F7A-9AB7650FBCEF}" destId="{9580F4FF-B1D8-4054-BBBB-5D902DCFEEF5}" srcOrd="2" destOrd="0" parTransId="{0FA40BB7-D5BE-4594-B837-CDFBDB060568}" sibTransId="{2C6AC5D0-51A3-4BA6-8C11-F55C3D745135}"/>
    <dgm:cxn modelId="{1623F5D1-B973-4515-BD19-13A8A9111329}" type="presOf" srcId="{3619DE1C-FEB4-491C-8F7A-9AB7650FBCEF}" destId="{1814C793-3471-4416-BFF5-12668A4F8868}" srcOrd="0" destOrd="0" presId="urn:microsoft.com/office/officeart/2009/3/layout/PieProcess"/>
    <dgm:cxn modelId="{F270A743-C8A4-46A8-88CF-992E1B6A1BBC}" type="presParOf" srcId="{F060688F-9B04-44CE-9B70-0F35415BB3EF}" destId="{A9D40B60-1C16-4514-BD8E-335B6D20045B}" srcOrd="0" destOrd="0" presId="urn:microsoft.com/office/officeart/2009/3/layout/PieProcess"/>
    <dgm:cxn modelId="{C2BAE483-ED4F-4D4A-86BA-D81C9D4B62F7}" type="presParOf" srcId="{A9D40B60-1C16-4514-BD8E-335B6D20045B}" destId="{10BF4BA0-0DA0-48D0-B932-9B7CF076CF11}" srcOrd="0" destOrd="0" presId="urn:microsoft.com/office/officeart/2009/3/layout/PieProcess"/>
    <dgm:cxn modelId="{6C96437B-E966-44A8-BEAA-C2C83C1C8FB4}" type="presParOf" srcId="{A9D40B60-1C16-4514-BD8E-335B6D20045B}" destId="{8A24ECD1-E4B3-409F-BA44-089A6FFCA0BC}" srcOrd="1" destOrd="0" presId="urn:microsoft.com/office/officeart/2009/3/layout/PieProcess"/>
    <dgm:cxn modelId="{B1D600A1-5D70-489A-808D-96BD77320653}" type="presParOf" srcId="{A9D40B60-1C16-4514-BD8E-335B6D20045B}" destId="{1814C793-3471-4416-BFF5-12668A4F8868}" srcOrd="2" destOrd="0" presId="urn:microsoft.com/office/officeart/2009/3/layout/PieProcess"/>
    <dgm:cxn modelId="{B5DE26DA-7E98-4688-BFAA-8AE467BF6AC0}" type="presParOf" srcId="{F060688F-9B04-44CE-9B70-0F35415BB3EF}" destId="{F989AD23-3C29-484D-A8C5-A7FF3EEC062F}" srcOrd="1" destOrd="0" presId="urn:microsoft.com/office/officeart/2009/3/layout/PieProcess"/>
    <dgm:cxn modelId="{DF5D1E9E-5CF6-4590-BE53-8C0BEAF0A798}" type="presParOf" srcId="{F060688F-9B04-44CE-9B70-0F35415BB3EF}" destId="{AA520C88-0EFD-4F93-AF45-E65A58A3E395}" srcOrd="2" destOrd="0" presId="urn:microsoft.com/office/officeart/2009/3/layout/PieProcess"/>
    <dgm:cxn modelId="{C71EA4DA-9A9E-487E-A812-4B82399C75E8}" type="presParOf" srcId="{AA520C88-0EFD-4F93-AF45-E65A58A3E395}" destId="{84E95C1E-FCFB-46DE-BC1B-A5A962BE3339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91BB71"/>
        </a:solidFill>
      </dgm:spPr>
      <dgm:t>
        <a:bodyPr/>
        <a:lstStyle/>
        <a:p>
          <a:pPr algn="just"/>
          <a:r>
            <a:rPr lang="ru-RU" sz="1800" dirty="0" smtClean="0"/>
            <a:t>Оформление списков претендентов и направление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418040E-7DEC-4976-B68D-1978FBB7ED1C}" type="presOf" srcId="{7D3EDE78-357E-4F7E-95AF-93BAD733999C}" destId="{B19A45E8-9114-46B8-ABB1-C5D4B5041A75}" srcOrd="0" destOrd="0" presId="urn:microsoft.com/office/officeart/2009/3/layout/IncreasingArrowsProcess"/>
    <dgm:cxn modelId="{02F445A7-FF7C-4A56-BEBD-8E9E126F9630}" type="presOf" srcId="{DCBBB76E-1E80-43CE-A3E4-F678CD28F155}" destId="{EA120FCF-C6AA-4B87-877E-5992B78CA861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8D7F73C1-D277-4F4F-A304-588D66ABC85D}" type="presOf" srcId="{10FD7243-DBEA-4098-AB4E-C7B7E1209E8F}" destId="{A7217D00-E232-4637-AD75-679D2F048C3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C6AE8DF5-C15E-42B4-921E-9B2590247698}" type="presParOf" srcId="{A7217D00-E232-4637-AD75-679D2F048C33}" destId="{B19A45E8-9114-46B8-ABB1-C5D4B5041A75}" srcOrd="0" destOrd="0" presId="urn:microsoft.com/office/officeart/2009/3/layout/IncreasingArrowsProcess"/>
    <dgm:cxn modelId="{EBDD61E4-0426-4884-9A67-01758882506C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9/3/layout/PieProces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/>
      <dgm:t>
        <a:bodyPr/>
        <a:lstStyle/>
        <a:p>
          <a:pPr algn="ctr"/>
          <a:r>
            <a:rPr lang="ru-RU" sz="2000" dirty="0" smtClean="0"/>
            <a:t>Примеры оформления списка претендентов (спортивные достижения)</a:t>
          </a:r>
          <a:endParaRPr lang="ru-RU" sz="20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45CB2B1D-1BC9-41E7-B8B6-1968758DA0AF}">
      <dgm:prSet phldrT="[Текст]" custT="1"/>
      <dgm:spPr/>
      <dgm:t>
        <a:bodyPr/>
        <a:lstStyle/>
        <a:p>
          <a:r>
            <a:rPr lang="ru-RU" sz="1600" i="1" dirty="0" smtClean="0"/>
            <a:t>Достижение</a:t>
          </a:r>
          <a:r>
            <a:rPr lang="ru-RU" sz="2000" dirty="0" smtClean="0"/>
            <a:t> - </a:t>
          </a:r>
          <a:r>
            <a:rPr lang="ru-RU" sz="1600" dirty="0" smtClean="0"/>
            <a:t>Участие в легкоатлетической эстафете на приз </a:t>
          </a:r>
          <a:r>
            <a:rPr lang="ru-RU" sz="1600" dirty="0" err="1" smtClean="0"/>
            <a:t>В.В.Терешковой</a:t>
          </a:r>
          <a:r>
            <a:rPr lang="ru-RU" sz="1600" dirty="0" smtClean="0"/>
            <a:t> в составе команды вуза – 3 место</a:t>
          </a:r>
          <a:endParaRPr lang="ru-RU" sz="1600" dirty="0"/>
        </a:p>
      </dgm:t>
    </dgm:pt>
    <dgm:pt modelId="{A80E1FE8-DFA4-4DFA-8786-5E214EF9BC16}" type="parTrans" cxnId="{C942BC63-0025-40CF-B782-2C21F109BF84}">
      <dgm:prSet/>
      <dgm:spPr/>
      <dgm:t>
        <a:bodyPr/>
        <a:lstStyle/>
        <a:p>
          <a:endParaRPr lang="ru-RU"/>
        </a:p>
      </dgm:t>
    </dgm:pt>
    <dgm:pt modelId="{5DCDE55F-51FB-4D89-97CA-F092F930127B}" type="sibTrans" cxnId="{C942BC63-0025-40CF-B782-2C21F109BF84}">
      <dgm:prSet/>
      <dgm:spPr/>
      <dgm:t>
        <a:bodyPr/>
        <a:lstStyle/>
        <a:p>
          <a:endParaRPr lang="ru-RU"/>
        </a:p>
      </dgm:t>
    </dgm:pt>
    <dgm:pt modelId="{61DCA6DC-15E1-48CE-9E77-9B000EF04E38}">
      <dgm:prSet phldrT="[Текст]" custT="1"/>
      <dgm:spPr/>
      <dgm:t>
        <a:bodyPr/>
        <a:lstStyle/>
        <a:p>
          <a:r>
            <a:rPr lang="ru-RU" sz="1600" i="1" dirty="0" smtClean="0"/>
            <a:t>Отражение в Списке –</a:t>
          </a:r>
        </a:p>
        <a:p>
          <a:r>
            <a:rPr lang="ru-RU" sz="1600" u="sng" dirty="0" smtClean="0"/>
            <a:t>МЦ БЛ ЧЛ – 1 - 3 место</a:t>
          </a:r>
          <a:endParaRPr lang="ru-RU" sz="1600" u="sng" dirty="0"/>
        </a:p>
      </dgm:t>
    </dgm:pt>
    <dgm:pt modelId="{ABF92BE0-3ACD-433E-BFD8-B2C81C9DBBCC}" type="parTrans" cxnId="{4C3CF255-69C7-4173-A199-79E5268FE933}">
      <dgm:prSet/>
      <dgm:spPr/>
      <dgm:t>
        <a:bodyPr/>
        <a:lstStyle/>
        <a:p>
          <a:endParaRPr lang="ru-RU"/>
        </a:p>
      </dgm:t>
    </dgm:pt>
    <dgm:pt modelId="{B28DC5AC-1DD8-4783-AAEF-8B27E708F98B}" type="sibTrans" cxnId="{4C3CF255-69C7-4173-A199-79E5268FE933}">
      <dgm:prSet/>
      <dgm:spPr/>
      <dgm:t>
        <a:bodyPr/>
        <a:lstStyle/>
        <a:p>
          <a:endParaRPr lang="ru-RU"/>
        </a:p>
      </dgm:t>
    </dgm:pt>
    <dgm:pt modelId="{9A0ACBE8-FCD9-4A31-BD73-F2F9FF72649F}">
      <dgm:prSet phldrT="[Текст]" custT="1"/>
      <dgm:spPr/>
      <dgm:t>
        <a:bodyPr/>
        <a:lstStyle/>
        <a:p>
          <a:r>
            <a:rPr lang="ru-RU" sz="1600" i="1" u="none" dirty="0" smtClean="0"/>
            <a:t>Достижение</a:t>
          </a:r>
          <a:r>
            <a:rPr lang="ru-RU" sz="1600" u="none" dirty="0" smtClean="0"/>
            <a:t> - Участие в чемпионате Ярославской области по шахматам в качестве судьи</a:t>
          </a:r>
          <a:endParaRPr lang="ru-RU" sz="1600" u="none" dirty="0"/>
        </a:p>
      </dgm:t>
    </dgm:pt>
    <dgm:pt modelId="{AEF52288-5F09-4BB6-BAB5-502BF6408325}" type="parTrans" cxnId="{7FFEDFC2-E988-43DB-BCBE-DE174A2A6F9C}">
      <dgm:prSet/>
      <dgm:spPr/>
      <dgm:t>
        <a:bodyPr/>
        <a:lstStyle/>
        <a:p>
          <a:endParaRPr lang="ru-RU"/>
        </a:p>
      </dgm:t>
    </dgm:pt>
    <dgm:pt modelId="{E464363B-72C9-423D-A854-0551FE256011}" type="sibTrans" cxnId="{7FFEDFC2-E988-43DB-BCBE-DE174A2A6F9C}">
      <dgm:prSet/>
      <dgm:spPr/>
      <dgm:t>
        <a:bodyPr/>
        <a:lstStyle/>
        <a:p>
          <a:endParaRPr lang="ru-RU"/>
        </a:p>
      </dgm:t>
    </dgm:pt>
    <dgm:pt modelId="{1B6459FA-3012-471D-B09E-CB8A9CD85FEF}">
      <dgm:prSet phldrT="[Текст]" custT="1"/>
      <dgm:spPr/>
      <dgm:t>
        <a:bodyPr/>
        <a:lstStyle/>
        <a:p>
          <a:r>
            <a:rPr lang="ru-RU" sz="1600" i="1" u="none" dirty="0" smtClean="0"/>
            <a:t>Отражение в Списке –</a:t>
          </a:r>
        </a:p>
        <a:p>
          <a:r>
            <a:rPr lang="ru-RU" sz="1600" u="sng" dirty="0" smtClean="0"/>
            <a:t>РГ С - 1 - ОР</a:t>
          </a:r>
          <a:endParaRPr lang="ru-RU" sz="1600" u="sng" dirty="0"/>
        </a:p>
      </dgm:t>
    </dgm:pt>
    <dgm:pt modelId="{F98C3821-6A00-45A9-AF6F-3BA42C90A851}" type="parTrans" cxnId="{2C3228D0-60E5-4C9C-8DBD-D95F46B350E4}">
      <dgm:prSet/>
      <dgm:spPr/>
      <dgm:t>
        <a:bodyPr/>
        <a:lstStyle/>
        <a:p>
          <a:endParaRPr lang="ru-RU"/>
        </a:p>
      </dgm:t>
    </dgm:pt>
    <dgm:pt modelId="{AAF30D86-672C-4902-9D22-1DEA43A11F8E}" type="sibTrans" cxnId="{2C3228D0-60E5-4C9C-8DBD-D95F46B350E4}">
      <dgm:prSet/>
      <dgm:spPr/>
      <dgm:t>
        <a:bodyPr/>
        <a:lstStyle/>
        <a:p>
          <a:endParaRPr lang="ru-RU"/>
        </a:p>
      </dgm:t>
    </dgm:pt>
    <dgm:pt modelId="{F060688F-9B04-44CE-9B70-0F35415BB3EF}" type="pres">
      <dgm:prSet presAssocID="{B6E487E3-D46A-4417-B7A6-9FE91C097C61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A9D40B60-1C16-4514-BD8E-335B6D20045B}" type="pres">
      <dgm:prSet presAssocID="{3619DE1C-FEB4-491C-8F7A-9AB7650FBCEF}" presName="ParentComposite" presStyleCnt="0"/>
      <dgm:spPr/>
    </dgm:pt>
    <dgm:pt modelId="{10BF4BA0-0DA0-48D0-B932-9B7CF076CF11}" type="pres">
      <dgm:prSet presAssocID="{3619DE1C-FEB4-491C-8F7A-9AB7650FBCEF}" presName="Chord" presStyleLbl="bgShp" presStyleIdx="0" presStyleCnt="1" custScaleX="48168" custScaleY="43573" custLinFactNeighborX="85760" custLinFactNeighborY="18607"/>
      <dgm:spPr>
        <a:prstGeom prst="rightArrow">
          <a:avLst/>
        </a:prstGeom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ru-RU"/>
        </a:p>
      </dgm:t>
    </dgm:pt>
    <dgm:pt modelId="{8A24ECD1-E4B3-409F-BA44-089A6FFCA0BC}" type="pres">
      <dgm:prSet presAssocID="{3619DE1C-FEB4-491C-8F7A-9AB7650FBCEF}" presName="Pie" presStyleLbl="alignNode1" presStyleIdx="0" presStyleCnt="1" custAng="5400000" custLinFactX="-100000" custLinFactY="183022" custLinFactNeighborX="-157929" custLinFactNeighborY="200000"/>
      <dgm:spPr/>
    </dgm:pt>
    <dgm:pt modelId="{1814C793-3471-4416-BFF5-12668A4F8868}" type="pres">
      <dgm:prSet presAssocID="{3619DE1C-FEB4-491C-8F7A-9AB7650FBCEF}" presName="Parent" presStyleLbl="revTx" presStyleIdx="0" presStyleCnt="2" custLinFactX="-127239" custLinFactNeighborX="-200000" custLinFactNeighborY="-3587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89AD23-3C29-484D-A8C5-A7FF3EEC062F}" type="pres">
      <dgm:prSet presAssocID="{5DCDE55F-51FB-4D89-97CA-F092F930127B}" presName="negSibTrans" presStyleCnt="0"/>
      <dgm:spPr/>
    </dgm:pt>
    <dgm:pt modelId="{AA520C88-0EFD-4F93-AF45-E65A58A3E395}" type="pres">
      <dgm:prSet presAssocID="{3619DE1C-FEB4-491C-8F7A-9AB7650FBCEF}" presName="composite" presStyleCnt="0"/>
      <dgm:spPr/>
    </dgm:pt>
    <dgm:pt modelId="{84E95C1E-FCFB-46DE-BC1B-A5A962BE3339}" type="pres">
      <dgm:prSet presAssocID="{3619DE1C-FEB4-491C-8F7A-9AB7650FBCEF}" presName="Child" presStyleLbl="revTx" presStyleIdx="1" presStyleCnt="2" custScaleX="114904" custScaleY="92581" custLinFactNeighborX="-85410" custLinFactNeighborY="272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37B98B5-8B8E-494A-8CCF-F369F3A2672C}" type="presOf" srcId="{61DCA6DC-15E1-48CE-9E77-9B000EF04E38}" destId="{84E95C1E-FCFB-46DE-BC1B-A5A962BE3339}" srcOrd="0" destOrd="1" presId="urn:microsoft.com/office/officeart/2009/3/layout/PieProcess"/>
    <dgm:cxn modelId="{6D0FF6EA-CE90-4080-A672-A6CFE9D8BE49}" type="presOf" srcId="{45CB2B1D-1BC9-41E7-B8B6-1968758DA0AF}" destId="{84E95C1E-FCFB-46DE-BC1B-A5A962BE3339}" srcOrd="0" destOrd="0" presId="urn:microsoft.com/office/officeart/2009/3/layout/PieProcess"/>
    <dgm:cxn modelId="{7FFEDFC2-E988-43DB-BCBE-DE174A2A6F9C}" srcId="{3619DE1C-FEB4-491C-8F7A-9AB7650FBCEF}" destId="{9A0ACBE8-FCD9-4A31-BD73-F2F9FF72649F}" srcOrd="2" destOrd="0" parTransId="{AEF52288-5F09-4BB6-BAB5-502BF6408325}" sibTransId="{E464363B-72C9-423D-A854-0551FE256011}"/>
    <dgm:cxn modelId="{4C3CF255-69C7-4173-A199-79E5268FE933}" srcId="{3619DE1C-FEB4-491C-8F7A-9AB7650FBCEF}" destId="{61DCA6DC-15E1-48CE-9E77-9B000EF04E38}" srcOrd="1" destOrd="0" parTransId="{ABF92BE0-3ACD-433E-BFD8-B2C81C9DBBCC}" sibTransId="{B28DC5AC-1DD8-4783-AAEF-8B27E708F98B}"/>
    <dgm:cxn modelId="{C942BC63-0025-40CF-B782-2C21F109BF84}" srcId="{3619DE1C-FEB4-491C-8F7A-9AB7650FBCEF}" destId="{45CB2B1D-1BC9-41E7-B8B6-1968758DA0AF}" srcOrd="0" destOrd="0" parTransId="{A80E1FE8-DFA4-4DFA-8786-5E214EF9BC16}" sibTransId="{5DCDE55F-51FB-4D89-97CA-F092F930127B}"/>
    <dgm:cxn modelId="{3B246F33-E037-4BFA-81A0-6967188983C7}" type="presOf" srcId="{B6E487E3-D46A-4417-B7A6-9FE91C097C61}" destId="{F060688F-9B04-44CE-9B70-0F35415BB3EF}" srcOrd="0" destOrd="0" presId="urn:microsoft.com/office/officeart/2009/3/layout/PieProcess"/>
    <dgm:cxn modelId="{2C3228D0-60E5-4C9C-8DBD-D95F46B350E4}" srcId="{3619DE1C-FEB4-491C-8F7A-9AB7650FBCEF}" destId="{1B6459FA-3012-471D-B09E-CB8A9CD85FEF}" srcOrd="3" destOrd="0" parTransId="{F98C3821-6A00-45A9-AF6F-3BA42C90A851}" sibTransId="{AAF30D86-672C-4902-9D22-1DEA43A11F8E}"/>
    <dgm:cxn modelId="{EBB47A88-4667-43DE-8225-7CD4BE5F6E6F}" srcId="{B6E487E3-D46A-4417-B7A6-9FE91C097C61}" destId="{3619DE1C-FEB4-491C-8F7A-9AB7650FBCEF}" srcOrd="0" destOrd="0" parTransId="{0E747785-8349-4344-B675-838E84156474}" sibTransId="{4A294269-245C-4AEC-B913-8353AB232A7F}"/>
    <dgm:cxn modelId="{9C1D1377-C108-4653-BF8B-8DEE140347DB}" type="presOf" srcId="{9A0ACBE8-FCD9-4A31-BD73-F2F9FF72649F}" destId="{84E95C1E-FCFB-46DE-BC1B-A5A962BE3339}" srcOrd="0" destOrd="2" presId="urn:microsoft.com/office/officeart/2009/3/layout/PieProcess"/>
    <dgm:cxn modelId="{AC161DD7-3907-4144-9E3D-5F2B41F95C01}" type="presOf" srcId="{3619DE1C-FEB4-491C-8F7A-9AB7650FBCEF}" destId="{1814C793-3471-4416-BFF5-12668A4F8868}" srcOrd="0" destOrd="0" presId="urn:microsoft.com/office/officeart/2009/3/layout/PieProcess"/>
    <dgm:cxn modelId="{9D35D3A9-52A7-42AC-A6A9-562FDABD20D2}" type="presOf" srcId="{1B6459FA-3012-471D-B09E-CB8A9CD85FEF}" destId="{84E95C1E-FCFB-46DE-BC1B-A5A962BE3339}" srcOrd="0" destOrd="3" presId="urn:microsoft.com/office/officeart/2009/3/layout/PieProcess"/>
    <dgm:cxn modelId="{2F90C7DC-E5B3-4CBB-9F12-EBB4860D1B08}" type="presParOf" srcId="{F060688F-9B04-44CE-9B70-0F35415BB3EF}" destId="{A9D40B60-1C16-4514-BD8E-335B6D20045B}" srcOrd="0" destOrd="0" presId="urn:microsoft.com/office/officeart/2009/3/layout/PieProcess"/>
    <dgm:cxn modelId="{7820AFB1-4499-4088-8502-8215DA5698BE}" type="presParOf" srcId="{A9D40B60-1C16-4514-BD8E-335B6D20045B}" destId="{10BF4BA0-0DA0-48D0-B932-9B7CF076CF11}" srcOrd="0" destOrd="0" presId="urn:microsoft.com/office/officeart/2009/3/layout/PieProcess"/>
    <dgm:cxn modelId="{55245A4E-BA28-47C3-9AF4-86D23D59B484}" type="presParOf" srcId="{A9D40B60-1C16-4514-BD8E-335B6D20045B}" destId="{8A24ECD1-E4B3-409F-BA44-089A6FFCA0BC}" srcOrd="1" destOrd="0" presId="urn:microsoft.com/office/officeart/2009/3/layout/PieProcess"/>
    <dgm:cxn modelId="{5D826054-0E46-40B0-AE74-E3CC624806B8}" type="presParOf" srcId="{A9D40B60-1C16-4514-BD8E-335B6D20045B}" destId="{1814C793-3471-4416-BFF5-12668A4F8868}" srcOrd="2" destOrd="0" presId="urn:microsoft.com/office/officeart/2009/3/layout/PieProcess"/>
    <dgm:cxn modelId="{36F31FF3-26A0-4B8E-B897-9D2D8C4C0A24}" type="presParOf" srcId="{F060688F-9B04-44CE-9B70-0F35415BB3EF}" destId="{F989AD23-3C29-484D-A8C5-A7FF3EEC062F}" srcOrd="1" destOrd="0" presId="urn:microsoft.com/office/officeart/2009/3/layout/PieProcess"/>
    <dgm:cxn modelId="{993F4349-9929-419E-940D-6C528338F518}" type="presParOf" srcId="{F060688F-9B04-44CE-9B70-0F35415BB3EF}" destId="{AA520C88-0EFD-4F93-AF45-E65A58A3E395}" srcOrd="2" destOrd="0" presId="urn:microsoft.com/office/officeart/2009/3/layout/PieProcess"/>
    <dgm:cxn modelId="{47FB9891-D585-4F75-A30C-F26732AE37DE}" type="presParOf" srcId="{AA520C88-0EFD-4F93-AF45-E65A58A3E395}" destId="{84E95C1E-FCFB-46DE-BC1B-A5A962BE3339}" srcOrd="0" destOrd="0" presId="urn:microsoft.com/office/officeart/2009/3/layout/PieProces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91BB71"/>
        </a:solidFill>
      </dgm:spPr>
      <dgm:t>
        <a:bodyPr/>
        <a:lstStyle/>
        <a:p>
          <a:pPr algn="just"/>
          <a:r>
            <a:rPr lang="ru-RU" sz="1800" b="1" dirty="0" smtClean="0"/>
            <a:t>Оформление списков претендентов и направление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B92741-11B8-4B97-BB1F-767080EB7E61}" type="presOf" srcId="{7D3EDE78-357E-4F7E-95AF-93BAD733999C}" destId="{B19A45E8-9114-46B8-ABB1-C5D4B5041A75}" srcOrd="0" destOrd="0" presId="urn:microsoft.com/office/officeart/2009/3/layout/IncreasingArrowsProcess"/>
    <dgm:cxn modelId="{93157860-376E-4519-BD38-412EEBA57C90}" type="presOf" srcId="{10FD7243-DBEA-4098-AB4E-C7B7E1209E8F}" destId="{A7217D00-E232-4637-AD75-679D2F048C33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5E4778D3-8426-4652-9A4E-3B9A18BD4CFE}" type="presOf" srcId="{DCBBB76E-1E80-43CE-A3E4-F678CD28F155}" destId="{EA120FCF-C6AA-4B87-877E-5992B78CA861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1119FD79-CA92-437B-ABDD-2BF56366DCA5}" type="presParOf" srcId="{A7217D00-E232-4637-AD75-679D2F048C33}" destId="{B19A45E8-9114-46B8-ABB1-C5D4B5041A75}" srcOrd="0" destOrd="0" presId="urn:microsoft.com/office/officeart/2009/3/layout/IncreasingArrowsProcess"/>
    <dgm:cxn modelId="{44BD923D-E7F1-4EDE-B108-1D0963BC84F7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/>
      <dgm:t>
        <a:bodyPr/>
        <a:lstStyle/>
        <a:p>
          <a:r>
            <a:rPr lang="ru-RU" sz="1800" dirty="0" smtClean="0"/>
            <a:t>Создание организационных предпосылок внутреннего отбора </a:t>
          </a:r>
          <a:endParaRPr lang="ru-RU" sz="1800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1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44BC82FB-869D-4C9F-8909-E7EDBE737AE2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800" dirty="0" smtClean="0"/>
            <a:t>Сбор информации от претендентов, проведение внутреннего конкурсного отбора</a:t>
          </a:r>
          <a:endParaRPr lang="ru-RU" sz="1800" dirty="0"/>
        </a:p>
      </dgm:t>
    </dgm:pt>
    <dgm:pt modelId="{91739CB7-5B6D-4504-AAA1-C04815464C9E}" type="parTrans" cxnId="{58D2E40A-3EE3-49C2-82A1-A6D2EB194803}">
      <dgm:prSet/>
      <dgm:spPr/>
      <dgm:t>
        <a:bodyPr/>
        <a:lstStyle/>
        <a:p>
          <a:endParaRPr lang="ru-RU"/>
        </a:p>
      </dgm:t>
    </dgm:pt>
    <dgm:pt modelId="{14D59E90-394C-44C1-9056-08E9F68B9242}" type="sibTrans" cxnId="{58D2E40A-3EE3-49C2-82A1-A6D2EB194803}">
      <dgm:prSet/>
      <dgm:spPr/>
      <dgm:t>
        <a:bodyPr/>
        <a:lstStyle/>
        <a:p>
          <a:endParaRPr lang="ru-RU"/>
        </a:p>
      </dgm:t>
    </dgm:pt>
    <dgm:pt modelId="{7E4C4387-F00C-4515-8C9C-3023890D16C1}">
      <dgm:prSet phldrT="[Текст]" custT="1"/>
      <dgm:spPr/>
      <dgm:t>
        <a:bodyPr/>
        <a:lstStyle/>
        <a:p>
          <a:pPr algn="ctr"/>
          <a:r>
            <a:rPr lang="ru-RU" sz="2000" b="1" dirty="0" smtClean="0"/>
            <a:t>2 этап</a:t>
          </a:r>
          <a:endParaRPr lang="ru-RU" sz="2000" b="1" dirty="0"/>
        </a:p>
      </dgm:t>
    </dgm:pt>
    <dgm:pt modelId="{C1F035ED-DA7E-460A-A4C1-17BC7E85FF30}" type="parTrans" cxnId="{C846F005-7DE2-4BB2-9C69-50FDB5FB4ECF}">
      <dgm:prSet/>
      <dgm:spPr/>
      <dgm:t>
        <a:bodyPr/>
        <a:lstStyle/>
        <a:p>
          <a:endParaRPr lang="ru-RU"/>
        </a:p>
      </dgm:t>
    </dgm:pt>
    <dgm:pt modelId="{FF0F4C8C-E5BC-4607-AE00-232D4131E28D}" type="sibTrans" cxnId="{C846F005-7DE2-4BB2-9C69-50FDB5FB4ECF}">
      <dgm:prSet/>
      <dgm:spPr/>
      <dgm:t>
        <a:bodyPr/>
        <a:lstStyle/>
        <a:p>
          <a:endParaRPr lang="ru-RU"/>
        </a:p>
      </dgm:t>
    </dgm:pt>
    <dgm:pt modelId="{52121554-9746-4668-8F73-F54E30DB738D}">
      <dgm:prSet phldrT="[Текст]" custT="1"/>
      <dgm:spPr>
        <a:solidFill>
          <a:srgbClr val="91BB71"/>
        </a:solidFill>
      </dgm:spPr>
      <dgm:t>
        <a:bodyPr/>
        <a:lstStyle/>
        <a:p>
          <a:r>
            <a:rPr lang="ru-RU" sz="1800" dirty="0" smtClean="0"/>
            <a:t>Оформление списков претендентов и направление материалов в Правительство области</a:t>
          </a:r>
          <a:endParaRPr lang="ru-RU" sz="1800" dirty="0"/>
        </a:p>
      </dgm:t>
    </dgm:pt>
    <dgm:pt modelId="{DB13A566-BD0C-40A7-9A9F-544EAC738BEF}" type="parTrans" cxnId="{A4CEA496-6310-41DE-AA37-D0BDF5929955}">
      <dgm:prSet/>
      <dgm:spPr/>
      <dgm:t>
        <a:bodyPr/>
        <a:lstStyle/>
        <a:p>
          <a:endParaRPr lang="ru-RU"/>
        </a:p>
      </dgm:t>
    </dgm:pt>
    <dgm:pt modelId="{B36FAC3A-3D79-40EB-B9AE-E63CCEBE4918}" type="sibTrans" cxnId="{A4CEA496-6310-41DE-AA37-D0BDF5929955}">
      <dgm:prSet/>
      <dgm:spPr/>
      <dgm:t>
        <a:bodyPr/>
        <a:lstStyle/>
        <a:p>
          <a:endParaRPr lang="ru-RU"/>
        </a:p>
      </dgm:t>
    </dgm:pt>
    <dgm:pt modelId="{62E0202D-39B0-41B6-B86A-39A688C034D4}">
      <dgm:prSet phldrT="[Текст]" custT="1"/>
      <dgm:spPr/>
      <dgm:t>
        <a:bodyPr/>
        <a:lstStyle/>
        <a:p>
          <a:pPr algn="ctr"/>
          <a:r>
            <a:rPr lang="ru-RU" sz="2000" b="1" dirty="0" smtClean="0"/>
            <a:t>3 этап</a:t>
          </a:r>
          <a:endParaRPr lang="ru-RU" sz="2000" b="1" dirty="0"/>
        </a:p>
      </dgm:t>
    </dgm:pt>
    <dgm:pt modelId="{FE77AD91-3DA8-4A35-8235-5B385DFF519F}" type="parTrans" cxnId="{73017140-1B83-411B-8B14-EC1A43B86C3F}">
      <dgm:prSet/>
      <dgm:spPr/>
      <dgm:t>
        <a:bodyPr/>
        <a:lstStyle/>
        <a:p>
          <a:endParaRPr lang="ru-RU"/>
        </a:p>
      </dgm:t>
    </dgm:pt>
    <dgm:pt modelId="{109AF2DB-CF0C-4967-9615-9C60D250BE4B}" type="sibTrans" cxnId="{73017140-1B83-411B-8B14-EC1A43B86C3F}">
      <dgm:prSet/>
      <dgm:spPr/>
      <dgm:t>
        <a:bodyPr/>
        <a:lstStyle/>
        <a:p>
          <a:endParaRPr lang="ru-RU"/>
        </a:p>
      </dgm:t>
    </dgm:pt>
    <dgm:pt modelId="{82DA7C78-7884-4447-B831-D6B8AA46AC89}">
      <dgm:prSet custT="1"/>
      <dgm:spPr>
        <a:solidFill>
          <a:srgbClr val="E2AC00"/>
        </a:solidFill>
      </dgm:spPr>
      <dgm:t>
        <a:bodyPr/>
        <a:lstStyle/>
        <a:p>
          <a:r>
            <a:rPr lang="ru-RU" sz="1800" baseline="0" dirty="0" smtClean="0"/>
            <a:t>Оформление получателями заявлений на обработку персональных данных и направление комплекта материалов в Правительство области</a:t>
          </a:r>
          <a:endParaRPr lang="ru-RU" sz="1800" baseline="0" dirty="0"/>
        </a:p>
      </dgm:t>
    </dgm:pt>
    <dgm:pt modelId="{FE884462-E161-4902-8D90-DDF690E35B9E}" type="parTrans" cxnId="{78294E09-50A8-4E29-A67C-E56AE31FC0CD}">
      <dgm:prSet/>
      <dgm:spPr/>
      <dgm:t>
        <a:bodyPr/>
        <a:lstStyle/>
        <a:p>
          <a:endParaRPr lang="ru-RU"/>
        </a:p>
      </dgm:t>
    </dgm:pt>
    <dgm:pt modelId="{6F3C587F-DBAE-495A-AC4B-F75D9C5627C4}" type="sibTrans" cxnId="{78294E09-50A8-4E29-A67C-E56AE31FC0CD}">
      <dgm:prSet/>
      <dgm:spPr/>
      <dgm:t>
        <a:bodyPr/>
        <a:lstStyle/>
        <a:p>
          <a:endParaRPr lang="ru-RU"/>
        </a:p>
      </dgm:t>
    </dgm:pt>
    <dgm:pt modelId="{CA8C29EB-6D07-4A49-8227-96F73D7EA4B4}">
      <dgm:prSet custT="1"/>
      <dgm:spPr/>
      <dgm:t>
        <a:bodyPr/>
        <a:lstStyle/>
        <a:p>
          <a:pPr algn="ctr"/>
          <a:r>
            <a:rPr lang="ru-RU" sz="2000" b="1" baseline="0" dirty="0" smtClean="0"/>
            <a:t>4 этап</a:t>
          </a:r>
          <a:endParaRPr lang="ru-RU" sz="2000" b="1" baseline="0" dirty="0"/>
        </a:p>
      </dgm:t>
    </dgm:pt>
    <dgm:pt modelId="{F0FAA283-9157-46E7-87DC-6FA233F4EDA1}" type="parTrans" cxnId="{24548E44-8A79-40DB-97B9-CF535DD2FE0A}">
      <dgm:prSet/>
      <dgm:spPr/>
      <dgm:t>
        <a:bodyPr/>
        <a:lstStyle/>
        <a:p>
          <a:endParaRPr lang="ru-RU"/>
        </a:p>
      </dgm:t>
    </dgm:pt>
    <dgm:pt modelId="{F9F9F595-86DA-40F0-8326-EEC242282CAD}" type="sibTrans" cxnId="{24548E44-8A79-40DB-97B9-CF535DD2FE0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4" custScaleX="100079" custLinFactNeighborX="12352" custLinFactNeighborY="-44834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4" custScaleX="45591" custScaleY="35568" custLinFactNeighborX="13067" custLinFactNeighborY="-5937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BFA314-0260-4231-AC76-5AD198A04C7D}" type="pres">
      <dgm:prSet presAssocID="{44BC82FB-869D-4C9F-8909-E7EDBE737AE2}" presName="parentText2" presStyleLbl="node1" presStyleIdx="1" presStyleCnt="4" custScaleX="116815" custScaleY="124726" custLinFactNeighborX="4303" custLinFactNeighborY="151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FBCD7D-C98B-4713-8284-B89D381D023A}" type="pres">
      <dgm:prSet presAssocID="{44BC82FB-869D-4C9F-8909-E7EDBE737AE2}" presName="childText2" presStyleLbl="solidAlignAcc1" presStyleIdx="1" presStyleCnt="4" custScaleX="47039" custScaleY="39076" custLinFactNeighborX="-43573" custLinFactNeighborY="-2955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9FB8CA-E3FE-4816-B170-B9EA619DC46A}" type="pres">
      <dgm:prSet presAssocID="{52121554-9746-4668-8F73-F54E30DB738D}" presName="parentText3" presStyleLbl="node1" presStyleIdx="2" presStyleCnt="4" custScaleX="148295" custScaleY="135234" custLinFactNeighborX="-4502" custLinFactNeighborY="4559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DA569D-7785-420B-B3A3-234DB30FAAF3}" type="pres">
      <dgm:prSet presAssocID="{52121554-9746-4668-8F73-F54E30DB738D}" presName="childText3" presStyleLbl="solidAlignAcc1" presStyleIdx="2" presStyleCnt="4" custScaleX="46652" custScaleY="37234" custLinFactNeighborX="-93628" custLinFactNeighborY="-513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1CD8DC-70BB-4CA3-B367-FB037FADE86F}" type="pres">
      <dgm:prSet presAssocID="{82DA7C78-7884-4447-B831-D6B8AA46AC89}" presName="parentText4" presStyleLbl="node1" presStyleIdx="3" presStyleCnt="4" custScaleX="215463" custScaleY="174426" custLinFactY="4272" custLinFactNeighborX="-28500" custLinFactNeighborY="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FF144D-2473-4CE8-A311-B39A26C70ED0}" type="pres">
      <dgm:prSet presAssocID="{82DA7C78-7884-4447-B831-D6B8AA46AC89}" presName="childText4" presStyleLbl="solidAlignAcc1" presStyleIdx="3" presStyleCnt="4" custScaleX="46525" custScaleY="29274" custLinFactX="-40700" custLinFactNeighborX="-100000" custLinFactNeighborY="2869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294E09-50A8-4E29-A67C-E56AE31FC0CD}" srcId="{10FD7243-DBEA-4098-AB4E-C7B7E1209E8F}" destId="{82DA7C78-7884-4447-B831-D6B8AA46AC89}" srcOrd="3" destOrd="0" parTransId="{FE884462-E161-4902-8D90-DDF690E35B9E}" sibTransId="{6F3C587F-DBAE-495A-AC4B-F75D9C5627C4}"/>
    <dgm:cxn modelId="{24548E44-8A79-40DB-97B9-CF535DD2FE0A}" srcId="{82DA7C78-7884-4447-B831-D6B8AA46AC89}" destId="{CA8C29EB-6D07-4A49-8227-96F73D7EA4B4}" srcOrd="0" destOrd="0" parTransId="{F0FAA283-9157-46E7-87DC-6FA233F4EDA1}" sibTransId="{F9F9F595-86DA-40F0-8326-EEC242282CAD}"/>
    <dgm:cxn modelId="{DE59DB3A-6D40-4190-89E3-A99850260C28}" type="presOf" srcId="{10FD7243-DBEA-4098-AB4E-C7B7E1209E8F}" destId="{A7217D00-E232-4637-AD75-679D2F048C33}" srcOrd="0" destOrd="0" presId="urn:microsoft.com/office/officeart/2009/3/layout/IncreasingArrowsProcess"/>
    <dgm:cxn modelId="{7AE03644-E198-4AA1-835D-24499F41BAE0}" type="presOf" srcId="{52121554-9746-4668-8F73-F54E30DB738D}" destId="{239FB8CA-E3FE-4816-B170-B9EA619DC46A}" srcOrd="0" destOrd="0" presId="urn:microsoft.com/office/officeart/2009/3/layout/IncreasingArrowsProcess"/>
    <dgm:cxn modelId="{C846F005-7DE2-4BB2-9C69-50FDB5FB4ECF}" srcId="{44BC82FB-869D-4C9F-8909-E7EDBE737AE2}" destId="{7E4C4387-F00C-4515-8C9C-3023890D16C1}" srcOrd="0" destOrd="0" parTransId="{C1F035ED-DA7E-460A-A4C1-17BC7E85FF30}" sibTransId="{FF0F4C8C-E5BC-4607-AE00-232D4131E28D}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7CB197FD-4BEC-48D4-95A5-5A8A637579F8}" type="presOf" srcId="{82DA7C78-7884-4447-B831-D6B8AA46AC89}" destId="{DD1CD8DC-70BB-4CA3-B367-FB037FADE86F}" srcOrd="0" destOrd="0" presId="urn:microsoft.com/office/officeart/2009/3/layout/IncreasingArrowsProcess"/>
    <dgm:cxn modelId="{6CCD0313-78F6-43F1-89C2-7B2E4A0C4939}" type="presOf" srcId="{7D3EDE78-357E-4F7E-95AF-93BAD733999C}" destId="{B19A45E8-9114-46B8-ABB1-C5D4B5041A75}" srcOrd="0" destOrd="0" presId="urn:microsoft.com/office/officeart/2009/3/layout/IncreasingArrowsProcess"/>
    <dgm:cxn modelId="{37FA34A0-709F-419C-874A-AD6A96E6A03F}" type="presOf" srcId="{DCBBB76E-1E80-43CE-A3E4-F678CD28F155}" destId="{EA120FCF-C6AA-4B87-877E-5992B78CA861}" srcOrd="0" destOrd="0" presId="urn:microsoft.com/office/officeart/2009/3/layout/IncreasingArrowsProcess"/>
    <dgm:cxn modelId="{DFDB645A-0D46-4DFF-9B24-08A9DFAF40D1}" type="presOf" srcId="{62E0202D-39B0-41B6-B86A-39A688C034D4}" destId="{52DA569D-7785-420B-B3A3-234DB30FAAF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A4CEA496-6310-41DE-AA37-D0BDF5929955}" srcId="{10FD7243-DBEA-4098-AB4E-C7B7E1209E8F}" destId="{52121554-9746-4668-8F73-F54E30DB738D}" srcOrd="2" destOrd="0" parTransId="{DB13A566-BD0C-40A7-9A9F-544EAC738BEF}" sibTransId="{B36FAC3A-3D79-40EB-B9AE-E63CCEBE4918}"/>
    <dgm:cxn modelId="{DAF1D0BC-0D34-43D2-ACD7-3F1597AA6107}" type="presOf" srcId="{CA8C29EB-6D07-4A49-8227-96F73D7EA4B4}" destId="{F1FF144D-2473-4CE8-A311-B39A26C70ED0}" srcOrd="0" destOrd="0" presId="urn:microsoft.com/office/officeart/2009/3/layout/IncreasingArrowsProcess"/>
    <dgm:cxn modelId="{98F9164B-AA4E-4586-AC9B-13BB9BD01942}" type="presOf" srcId="{7E4C4387-F00C-4515-8C9C-3023890D16C1}" destId="{C5FBCD7D-C98B-4713-8284-B89D381D023A}" srcOrd="0" destOrd="0" presId="urn:microsoft.com/office/officeart/2009/3/layout/IncreasingArrowsProcess"/>
    <dgm:cxn modelId="{F73CE143-2E4E-4691-8DF1-D5967DB4C39F}" type="presOf" srcId="{44BC82FB-869D-4C9F-8909-E7EDBE737AE2}" destId="{31BFA314-0260-4231-AC76-5AD198A04C7D}" srcOrd="0" destOrd="0" presId="urn:microsoft.com/office/officeart/2009/3/layout/IncreasingArrowsProcess"/>
    <dgm:cxn modelId="{58D2E40A-3EE3-49C2-82A1-A6D2EB194803}" srcId="{10FD7243-DBEA-4098-AB4E-C7B7E1209E8F}" destId="{44BC82FB-869D-4C9F-8909-E7EDBE737AE2}" srcOrd="1" destOrd="0" parTransId="{91739CB7-5B6D-4504-AAA1-C04815464C9E}" sibTransId="{14D59E90-394C-44C1-9056-08E9F68B9242}"/>
    <dgm:cxn modelId="{73017140-1B83-411B-8B14-EC1A43B86C3F}" srcId="{52121554-9746-4668-8F73-F54E30DB738D}" destId="{62E0202D-39B0-41B6-B86A-39A688C034D4}" srcOrd="0" destOrd="0" parTransId="{FE77AD91-3DA8-4A35-8235-5B385DFF519F}" sibTransId="{109AF2DB-CF0C-4967-9615-9C60D250BE4B}"/>
    <dgm:cxn modelId="{0C0EFD48-12FF-49F6-AC51-18F13B757B1D}" type="presParOf" srcId="{A7217D00-E232-4637-AD75-679D2F048C33}" destId="{B19A45E8-9114-46B8-ABB1-C5D4B5041A75}" srcOrd="0" destOrd="0" presId="urn:microsoft.com/office/officeart/2009/3/layout/IncreasingArrowsProcess"/>
    <dgm:cxn modelId="{F4CB1644-2DDD-4678-AFEC-63B6AAD7FBA6}" type="presParOf" srcId="{A7217D00-E232-4637-AD75-679D2F048C33}" destId="{EA120FCF-C6AA-4B87-877E-5992B78CA861}" srcOrd="1" destOrd="0" presId="urn:microsoft.com/office/officeart/2009/3/layout/IncreasingArrowsProcess"/>
    <dgm:cxn modelId="{BA2F4445-04D4-4DC4-9A9A-9E560793687F}" type="presParOf" srcId="{A7217D00-E232-4637-AD75-679D2F048C33}" destId="{31BFA314-0260-4231-AC76-5AD198A04C7D}" srcOrd="2" destOrd="0" presId="urn:microsoft.com/office/officeart/2009/3/layout/IncreasingArrowsProcess"/>
    <dgm:cxn modelId="{D808D5E6-1F84-4603-828A-6922F03215D2}" type="presParOf" srcId="{A7217D00-E232-4637-AD75-679D2F048C33}" destId="{C5FBCD7D-C98B-4713-8284-B89D381D023A}" srcOrd="3" destOrd="0" presId="urn:microsoft.com/office/officeart/2009/3/layout/IncreasingArrowsProcess"/>
    <dgm:cxn modelId="{B18B0252-3FE6-41DA-B9F8-0EC43F277575}" type="presParOf" srcId="{A7217D00-E232-4637-AD75-679D2F048C33}" destId="{239FB8CA-E3FE-4816-B170-B9EA619DC46A}" srcOrd="4" destOrd="0" presId="urn:microsoft.com/office/officeart/2009/3/layout/IncreasingArrowsProcess"/>
    <dgm:cxn modelId="{F3EBEF52-4C30-4562-8417-7C327C14B0B5}" type="presParOf" srcId="{A7217D00-E232-4637-AD75-679D2F048C33}" destId="{52DA569D-7785-420B-B3A3-234DB30FAAF3}" srcOrd="5" destOrd="0" presId="urn:microsoft.com/office/officeart/2009/3/layout/IncreasingArrowsProcess"/>
    <dgm:cxn modelId="{5225CA34-6542-4E06-997B-F13E083978D4}" type="presParOf" srcId="{A7217D00-E232-4637-AD75-679D2F048C33}" destId="{DD1CD8DC-70BB-4CA3-B367-FB037FADE86F}" srcOrd="6" destOrd="0" presId="urn:microsoft.com/office/officeart/2009/3/layout/IncreasingArrowsProcess"/>
    <dgm:cxn modelId="{E27D7E47-BBAB-4E64-96D5-1B754653B586}" type="presParOf" srcId="{A7217D00-E232-4637-AD75-679D2F048C33}" destId="{F1FF144D-2473-4CE8-A311-B39A26C70ED0}" srcOrd="7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2576984-91DD-4F6C-98DB-C6C2E87584F3}">
      <dgm:prSet phldrT="[Текст]" custT="1"/>
      <dgm:spPr>
        <a:solidFill>
          <a:srgbClr val="91BB71"/>
        </a:solidFill>
      </dgm:spPr>
      <dgm:t>
        <a:bodyPr/>
        <a:lstStyle/>
        <a:p>
          <a:r>
            <a:rPr lang="ru-RU" sz="2200" b="1" dirty="0" smtClean="0"/>
            <a:t>Направление материалов в Правительство области</a:t>
          </a:r>
          <a:endParaRPr lang="ru-RU" sz="2200" b="1" dirty="0"/>
        </a:p>
      </dgm:t>
    </dgm:pt>
    <dgm:pt modelId="{E222CFAB-62E1-4DAA-9E96-A2CCD9005175}" type="parTrans" cxnId="{6113EEAC-CBB5-4C83-AFCF-F5A94F5AB5FB}">
      <dgm:prSet/>
      <dgm:spPr/>
      <dgm:t>
        <a:bodyPr/>
        <a:lstStyle/>
        <a:p>
          <a:endParaRPr lang="ru-RU"/>
        </a:p>
      </dgm:t>
    </dgm:pt>
    <dgm:pt modelId="{6D1CE9F5-21F9-44CD-A027-EC3D0082323F}" type="sibTrans" cxnId="{6113EEAC-CBB5-4C83-AFCF-F5A94F5AB5FB}">
      <dgm:prSet/>
      <dgm:spPr/>
      <dgm:t>
        <a:bodyPr/>
        <a:lstStyle/>
        <a:p>
          <a:endParaRPr lang="ru-RU"/>
        </a:p>
      </dgm:t>
    </dgm:pt>
    <dgm:pt modelId="{ED98A5C5-3374-4CAE-BBB7-188BAB1C6E36}">
      <dgm:prSet phldrT="[Текст]" custT="1"/>
      <dgm:spPr/>
      <dgm:t>
        <a:bodyPr/>
        <a:lstStyle/>
        <a:p>
          <a:pPr marL="274638" indent="-103188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В Правительство области направляется единый от организации комплект материалов:</a:t>
          </a:r>
          <a:endParaRPr lang="ru-RU" sz="1600" u="none" dirty="0"/>
        </a:p>
      </dgm:t>
    </dgm:pt>
    <dgm:pt modelId="{C2450B17-92B7-4457-AFB2-1FEB04255C91}" type="parTrans" cxnId="{10914711-9EAE-4062-83E0-CE6470E67171}">
      <dgm:prSet/>
      <dgm:spPr/>
      <dgm:t>
        <a:bodyPr/>
        <a:lstStyle/>
        <a:p>
          <a:endParaRPr lang="ru-RU"/>
        </a:p>
      </dgm:t>
    </dgm:pt>
    <dgm:pt modelId="{2C144F35-7218-4B65-89F1-86638B321445}" type="sibTrans" cxnId="{10914711-9EAE-4062-83E0-CE6470E67171}">
      <dgm:prSet/>
      <dgm:spPr/>
      <dgm:t>
        <a:bodyPr/>
        <a:lstStyle/>
        <a:p>
          <a:endParaRPr lang="ru-RU"/>
        </a:p>
      </dgm:t>
    </dgm:pt>
    <dgm:pt modelId="{DD841FB4-2ACB-40CD-A1BC-7A7F16D153FA}">
      <dgm:prSet phldrT="[Текст]" custT="1"/>
      <dgm:spPr/>
      <dgm:t>
        <a:bodyPr/>
        <a:lstStyle/>
        <a:p>
          <a:pPr marL="365125" indent="-193675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Электронная версия списков в формате </a:t>
          </a:r>
          <a:r>
            <a:rPr lang="en-US" sz="1600" u="none" dirty="0" smtClean="0"/>
            <a:t>Word </a:t>
          </a:r>
          <a:r>
            <a:rPr lang="ru-RU" sz="1600" u="none" dirty="0" smtClean="0"/>
            <a:t>направляется</a:t>
          </a:r>
          <a:r>
            <a:rPr lang="en-US" sz="1600" u="none" dirty="0" smtClean="0"/>
            <a:t> </a:t>
          </a:r>
          <a:r>
            <a:rPr lang="ru-RU" sz="1600" u="none" dirty="0" smtClean="0"/>
            <a:t>на электронный адрес </a:t>
          </a:r>
          <a:r>
            <a:rPr lang="en-US" sz="1600" u="none" dirty="0" smtClean="0">
              <a:solidFill>
                <a:schemeClr val="tx2">
                  <a:lumMod val="60000"/>
                  <a:lumOff val="40000"/>
                </a:schemeClr>
              </a:solidFill>
              <a:hlinkClick xmlns:r="http://schemas.openxmlformats.org/officeDocument/2006/relationships" r:id="rId1"/>
            </a:rPr>
            <a:t>lohanina@yarregion.ru</a:t>
          </a:r>
          <a:endParaRPr lang="ru-RU" sz="1600" u="none" dirty="0">
            <a:solidFill>
              <a:schemeClr val="tx2">
                <a:lumMod val="60000"/>
                <a:lumOff val="40000"/>
              </a:schemeClr>
            </a:solidFill>
          </a:endParaRPr>
        </a:p>
      </dgm:t>
    </dgm:pt>
    <dgm:pt modelId="{074FFF3C-9DB6-46C3-B129-F63F98A3F53D}" type="parTrans" cxnId="{730BF60D-388B-414E-BD8F-B5E983090D5E}">
      <dgm:prSet/>
      <dgm:spPr/>
      <dgm:t>
        <a:bodyPr/>
        <a:lstStyle/>
        <a:p>
          <a:endParaRPr lang="ru-RU"/>
        </a:p>
      </dgm:t>
    </dgm:pt>
    <dgm:pt modelId="{749A2D36-831A-4F15-8AF5-FBB7A1C9FEF7}" type="sibTrans" cxnId="{730BF60D-388B-414E-BD8F-B5E983090D5E}">
      <dgm:prSet/>
      <dgm:spPr/>
      <dgm:t>
        <a:bodyPr/>
        <a:lstStyle/>
        <a:p>
          <a:endParaRPr lang="ru-RU"/>
        </a:p>
      </dgm:t>
    </dgm:pt>
    <dgm:pt modelId="{77B6F9D2-5872-4B8D-B13C-9DC0EB35C6DC}">
      <dgm:prSet phldrT="[Текст]" custT="1"/>
      <dgm:spPr/>
      <dgm:t>
        <a:bodyPr/>
        <a:lstStyle/>
        <a:p>
          <a:pPr marL="274638" indent="-103188" algn="just">
            <a:lnSpc>
              <a:spcPct val="100000"/>
            </a:lnSpc>
            <a:spcBef>
              <a:spcPts val="1800"/>
            </a:spcBef>
            <a:spcAft>
              <a:spcPts val="0"/>
            </a:spcAft>
          </a:pPr>
          <a:r>
            <a:rPr lang="ru-RU" sz="1600" u="none" dirty="0" smtClean="0"/>
            <a:t> Оформляется сопроводительное письмо о направлении материалов для участия претендентов в конкурсном отборе</a:t>
          </a:r>
          <a:endParaRPr lang="ru-RU" sz="1600" u="none" dirty="0"/>
        </a:p>
      </dgm:t>
    </dgm:pt>
    <dgm:pt modelId="{4E7189C5-EEB5-4B35-9345-DFC2E75C31E9}" type="parTrans" cxnId="{692D8F3E-580D-4B38-B4B9-A2C0D3F8A227}">
      <dgm:prSet/>
      <dgm:spPr/>
      <dgm:t>
        <a:bodyPr/>
        <a:lstStyle/>
        <a:p>
          <a:endParaRPr lang="ru-RU"/>
        </a:p>
      </dgm:t>
    </dgm:pt>
    <dgm:pt modelId="{8FC61EC1-A749-4CED-8D11-A0B831907E4D}" type="sibTrans" cxnId="{692D8F3E-580D-4B38-B4B9-A2C0D3F8A227}">
      <dgm:prSet/>
      <dgm:spPr/>
      <dgm:t>
        <a:bodyPr/>
        <a:lstStyle/>
        <a:p>
          <a:endParaRPr lang="ru-RU"/>
        </a:p>
      </dgm:t>
    </dgm:pt>
    <dgm:pt modelId="{5C26448B-384E-4DDC-B756-D97D2881B4A2}">
      <dgm:prSet phldrT="[Текст]" custT="1"/>
      <dgm:spPr/>
      <dgm:t>
        <a:bodyPr/>
        <a:lstStyle/>
        <a:p>
          <a:pPr marL="900113" indent="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Содержит поименный список претендентов в разрезе видов именных стипендий</a:t>
          </a:r>
          <a:endParaRPr lang="ru-RU" sz="1600" u="none" dirty="0"/>
        </a:p>
      </dgm:t>
    </dgm:pt>
    <dgm:pt modelId="{8BC552E5-D75B-42EA-A6D6-105F9A38AEC1}" type="parTrans" cxnId="{4F0B7EB1-ECD1-4B31-BE1C-3627C964BB53}">
      <dgm:prSet/>
      <dgm:spPr/>
      <dgm:t>
        <a:bodyPr/>
        <a:lstStyle/>
        <a:p>
          <a:endParaRPr lang="ru-RU"/>
        </a:p>
      </dgm:t>
    </dgm:pt>
    <dgm:pt modelId="{5DEA5750-C549-4619-B4E5-D7685A3C9208}" type="sibTrans" cxnId="{4F0B7EB1-ECD1-4B31-BE1C-3627C964BB53}">
      <dgm:prSet/>
      <dgm:spPr/>
      <dgm:t>
        <a:bodyPr/>
        <a:lstStyle/>
        <a:p>
          <a:endParaRPr lang="ru-RU"/>
        </a:p>
      </dgm:t>
    </dgm:pt>
    <dgm:pt modelId="{FE8FE60B-1B76-4F72-9AF9-0C0FE0784067}">
      <dgm:prSet phldrT="[Текст]" custT="1"/>
      <dgm:spPr/>
      <dgm:t>
        <a:bodyPr/>
        <a:lstStyle/>
        <a:p>
          <a:pPr marL="354013" indent="54610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Подписывается руководителем организации</a:t>
          </a:r>
          <a:endParaRPr lang="ru-RU" sz="1600" u="none" dirty="0"/>
        </a:p>
      </dgm:t>
    </dgm:pt>
    <dgm:pt modelId="{0EB6F1DC-07AB-46AB-A8C3-A4C872D8FAF1}" type="parTrans" cxnId="{A7272C4B-4B9C-4D12-A878-BED652245CE0}">
      <dgm:prSet/>
      <dgm:spPr/>
      <dgm:t>
        <a:bodyPr/>
        <a:lstStyle/>
        <a:p>
          <a:endParaRPr lang="ru-RU"/>
        </a:p>
      </dgm:t>
    </dgm:pt>
    <dgm:pt modelId="{F376DD9C-7083-4829-B70D-A5FDF92BF1FB}" type="sibTrans" cxnId="{A7272C4B-4B9C-4D12-A878-BED652245CE0}">
      <dgm:prSet/>
      <dgm:spPr/>
      <dgm:t>
        <a:bodyPr/>
        <a:lstStyle/>
        <a:p>
          <a:endParaRPr lang="ru-RU"/>
        </a:p>
      </dgm:t>
    </dgm:pt>
    <dgm:pt modelId="{C489A1AF-1346-4B2A-B2FE-C78F6DD1595B}">
      <dgm:prSet phldrT="[Текст]" custT="1"/>
      <dgm:spPr/>
      <dgm:t>
        <a:bodyPr/>
        <a:lstStyle/>
        <a:p>
          <a:pPr marL="354013" indent="54610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Содержит выходные сведения (дата, регистрационный номер ). </a:t>
          </a:r>
          <a:endParaRPr lang="ru-RU" sz="1600" u="none" dirty="0"/>
        </a:p>
      </dgm:t>
    </dgm:pt>
    <dgm:pt modelId="{5D3C2D6A-3072-49E5-A9B5-FA830C60A074}" type="parTrans" cxnId="{6300B9FB-A2FC-4670-A280-496B635540DB}">
      <dgm:prSet/>
      <dgm:spPr/>
      <dgm:t>
        <a:bodyPr/>
        <a:lstStyle/>
        <a:p>
          <a:endParaRPr lang="ru-RU"/>
        </a:p>
      </dgm:t>
    </dgm:pt>
    <dgm:pt modelId="{11F855AB-AE25-4331-B576-F8775766378C}" type="sibTrans" cxnId="{6300B9FB-A2FC-4670-A280-496B635540DB}">
      <dgm:prSet/>
      <dgm:spPr/>
      <dgm:t>
        <a:bodyPr/>
        <a:lstStyle/>
        <a:p>
          <a:endParaRPr lang="ru-RU"/>
        </a:p>
      </dgm:t>
    </dgm:pt>
    <dgm:pt modelId="{DEC7A18D-0A9D-4FE4-AB7C-2A96E46E32B8}">
      <dgm:prSet phldrT="[Текст]" custT="1"/>
      <dgm:spPr/>
      <dgm:t>
        <a:bodyPr/>
        <a:lstStyle/>
        <a:p>
          <a:pPr marL="354013" indent="546100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Указывается количество листов приложений</a:t>
          </a:r>
          <a:endParaRPr lang="ru-RU" sz="1600" u="none" dirty="0"/>
        </a:p>
      </dgm:t>
    </dgm:pt>
    <dgm:pt modelId="{BB74B4EF-E774-4EAC-9AAD-B2FC885E936D}" type="parTrans" cxnId="{469283F4-D6EA-41D4-A933-570ADA8F2FE2}">
      <dgm:prSet/>
      <dgm:spPr/>
      <dgm:t>
        <a:bodyPr/>
        <a:lstStyle/>
        <a:p>
          <a:endParaRPr lang="ru-RU"/>
        </a:p>
      </dgm:t>
    </dgm:pt>
    <dgm:pt modelId="{236A7DEF-8636-49E2-9670-F89D3529CA41}" type="sibTrans" cxnId="{469283F4-D6EA-41D4-A933-570ADA8F2FE2}">
      <dgm:prSet/>
      <dgm:spPr/>
      <dgm:t>
        <a:bodyPr/>
        <a:lstStyle/>
        <a:p>
          <a:endParaRPr lang="ru-RU"/>
        </a:p>
      </dgm:t>
    </dgm:pt>
    <dgm:pt modelId="{F5DDA341-2D23-4BF6-AE0B-DB398DFDE05E}">
      <dgm:prSet phldrT="[Текст]" custT="1"/>
      <dgm:spPr/>
      <dgm:t>
        <a:bodyPr/>
        <a:lstStyle/>
        <a:p>
          <a:pPr marL="900113" indent="-93663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списки претендентов</a:t>
          </a:r>
          <a:endParaRPr lang="ru-RU" sz="1600" u="none" dirty="0"/>
        </a:p>
      </dgm:t>
    </dgm:pt>
    <dgm:pt modelId="{A9495D7D-CC20-4A2E-8B7A-DFB318102A8F}" type="parTrans" cxnId="{C5FDE2B1-AA71-49EB-915C-914AD13027FB}">
      <dgm:prSet/>
      <dgm:spPr/>
      <dgm:t>
        <a:bodyPr/>
        <a:lstStyle/>
        <a:p>
          <a:endParaRPr lang="ru-RU"/>
        </a:p>
      </dgm:t>
    </dgm:pt>
    <dgm:pt modelId="{FEB832A8-770D-486F-996F-3A9F6C7A0913}" type="sibTrans" cxnId="{C5FDE2B1-AA71-49EB-915C-914AD13027FB}">
      <dgm:prSet/>
      <dgm:spPr/>
      <dgm:t>
        <a:bodyPr/>
        <a:lstStyle/>
        <a:p>
          <a:endParaRPr lang="ru-RU"/>
        </a:p>
      </dgm:t>
    </dgm:pt>
    <dgm:pt modelId="{D4F49A5B-4B38-45FD-8C91-6E6086FD5835}">
      <dgm:prSet phldrT="[Текст]" custT="1"/>
      <dgm:spPr/>
      <dgm:t>
        <a:bodyPr/>
        <a:lstStyle/>
        <a:p>
          <a:pPr marL="900113" indent="-93663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описания достижений (без приложения подтверждающих документов)</a:t>
          </a:r>
          <a:endParaRPr lang="ru-RU" sz="1600" u="none" dirty="0"/>
        </a:p>
      </dgm:t>
    </dgm:pt>
    <dgm:pt modelId="{9E00E538-497C-4425-A567-5127A59E374F}" type="parTrans" cxnId="{01B32638-A850-4976-AAC5-1AFCC1801AA9}">
      <dgm:prSet/>
      <dgm:spPr/>
      <dgm:t>
        <a:bodyPr/>
        <a:lstStyle/>
        <a:p>
          <a:endParaRPr lang="ru-RU"/>
        </a:p>
      </dgm:t>
    </dgm:pt>
    <dgm:pt modelId="{08F5A735-1708-4EB8-B370-4D586C169FA8}" type="sibTrans" cxnId="{01B32638-A850-4976-AAC5-1AFCC1801AA9}">
      <dgm:prSet/>
      <dgm:spPr/>
      <dgm:t>
        <a:bodyPr/>
        <a:lstStyle/>
        <a:p>
          <a:endParaRPr lang="ru-RU"/>
        </a:p>
      </dgm:t>
    </dgm:pt>
    <dgm:pt modelId="{92792435-744B-487A-B3A7-958998EF3FD5}">
      <dgm:prSet phldrT="[Текст]" custT="1"/>
      <dgm:spPr/>
      <dgm:t>
        <a:bodyPr/>
        <a:lstStyle/>
        <a:p>
          <a:pPr marL="900113" indent="-93663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/>
            <a:t> сопроводительное </a:t>
          </a:r>
          <a:r>
            <a:rPr lang="en-US" sz="1600" u="none" dirty="0" smtClean="0"/>
            <a:t> </a:t>
          </a:r>
          <a:r>
            <a:rPr lang="ru-RU" sz="1600" u="none" dirty="0" smtClean="0"/>
            <a:t>письмо - официально (через курьера), подлежит регистрации входящих документов в Правительстве области.</a:t>
          </a:r>
          <a:endParaRPr lang="ru-RU" sz="1600" u="none" dirty="0"/>
        </a:p>
      </dgm:t>
    </dgm:pt>
    <dgm:pt modelId="{3AF04C85-E1EB-41DD-A083-06A0C4A46B0B}" type="parTrans" cxnId="{99929858-6EC6-478C-A7B0-2CE3DCD69362}">
      <dgm:prSet/>
      <dgm:spPr/>
      <dgm:t>
        <a:bodyPr/>
        <a:lstStyle/>
        <a:p>
          <a:endParaRPr lang="ru-RU"/>
        </a:p>
      </dgm:t>
    </dgm:pt>
    <dgm:pt modelId="{B2778BB1-1A1C-4912-BDD0-18E9E0EB6C97}" type="sibTrans" cxnId="{99929858-6EC6-478C-A7B0-2CE3DCD69362}">
      <dgm:prSet/>
      <dgm:spPr/>
      <dgm:t>
        <a:bodyPr/>
        <a:lstStyle/>
        <a:p>
          <a:endParaRPr lang="ru-RU"/>
        </a:p>
      </dgm:t>
    </dgm:pt>
    <dgm:pt modelId="{6C1220DC-7A42-45EF-905C-D557BDDF9E29}">
      <dgm:prSet phldrT="[Текст]" custT="1"/>
      <dgm:spPr/>
      <dgm:t>
        <a:bodyPr/>
        <a:lstStyle/>
        <a:p>
          <a:pPr marL="365125" indent="-193675" algn="just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600" u="none" dirty="0" smtClean="0">
              <a:solidFill>
                <a:schemeClr val="tx1"/>
              </a:solidFill>
            </a:rPr>
            <a:t> Срок представления материалов в Правительство области по 08 сентября 2017 года до 15.00 (с учетом графика рабочих дней и для обеспечения регистрации входящей корреспонденции до окончания дня)</a:t>
          </a:r>
          <a:endParaRPr lang="ru-RU" sz="1600" u="none" dirty="0">
            <a:solidFill>
              <a:schemeClr val="tx1"/>
            </a:solidFill>
          </a:endParaRPr>
        </a:p>
      </dgm:t>
    </dgm:pt>
    <dgm:pt modelId="{6B8F0FA3-E551-4D3B-BE21-1A6BB02EFE6E}" type="parTrans" cxnId="{8BD8E305-F794-4CB3-97B1-229F66C6B277}">
      <dgm:prSet/>
      <dgm:spPr/>
      <dgm:t>
        <a:bodyPr/>
        <a:lstStyle/>
        <a:p>
          <a:endParaRPr lang="ru-RU"/>
        </a:p>
      </dgm:t>
    </dgm:pt>
    <dgm:pt modelId="{E697AD4A-DD2C-4958-A83A-C02B5980D5C8}" type="sibTrans" cxnId="{8BD8E305-F794-4CB3-97B1-229F66C6B277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3A8834F-ADE8-4EB2-8614-07E8E909B763}" type="pres">
      <dgm:prSet presAssocID="{72576984-91DD-4F6C-98DB-C6C2E87584F3}" presName="parentText" presStyleLbl="node1" presStyleIdx="0" presStyleCnt="1" custScaleX="98230" custScaleY="119618" custLinFactY="-2866" custLinFactNeighborX="2503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516E29-FC68-4235-B525-957E8FBB2CC2}" type="pres">
      <dgm:prSet presAssocID="{72576984-91DD-4F6C-98DB-C6C2E87584F3}" presName="childText" presStyleLbl="revTx" presStyleIdx="0" presStyleCnt="1" custScaleY="1624764" custLinFactNeighborY="-17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1B32638-A850-4976-AAC5-1AFCC1801AA9}" srcId="{ED98A5C5-3374-4CAE-BBB7-188BAB1C6E36}" destId="{D4F49A5B-4B38-45FD-8C91-6E6086FD5835}" srcOrd="1" destOrd="0" parTransId="{9E00E538-497C-4425-A567-5127A59E374F}" sibTransId="{08F5A735-1708-4EB8-B370-4D586C169FA8}"/>
    <dgm:cxn modelId="{84EE0779-0F2E-4FDA-BBDC-A79719ADDADD}" type="presOf" srcId="{77B6F9D2-5872-4B8D-B13C-9DC0EB35C6DC}" destId="{22516E29-FC68-4235-B525-957E8FBB2CC2}" srcOrd="0" destOrd="0" presId="urn:microsoft.com/office/officeart/2005/8/layout/vList2"/>
    <dgm:cxn modelId="{99929858-6EC6-478C-A7B0-2CE3DCD69362}" srcId="{ED98A5C5-3374-4CAE-BBB7-188BAB1C6E36}" destId="{92792435-744B-487A-B3A7-958998EF3FD5}" srcOrd="2" destOrd="0" parTransId="{3AF04C85-E1EB-41DD-A083-06A0C4A46B0B}" sibTransId="{B2778BB1-1A1C-4912-BDD0-18E9E0EB6C97}"/>
    <dgm:cxn modelId="{469283F4-D6EA-41D4-A933-570ADA8F2FE2}" srcId="{77B6F9D2-5872-4B8D-B13C-9DC0EB35C6DC}" destId="{DEC7A18D-0A9D-4FE4-AB7C-2A96E46E32B8}" srcOrd="1" destOrd="0" parTransId="{BB74B4EF-E774-4EAC-9AAD-B2FC885E936D}" sibTransId="{236A7DEF-8636-49E2-9670-F89D3529CA41}"/>
    <dgm:cxn modelId="{A7272C4B-4B9C-4D12-A878-BED652245CE0}" srcId="{77B6F9D2-5872-4B8D-B13C-9DC0EB35C6DC}" destId="{FE8FE60B-1B76-4F72-9AF9-0C0FE0784067}" srcOrd="2" destOrd="0" parTransId="{0EB6F1DC-07AB-46AB-A8C3-A4C872D8FAF1}" sibTransId="{F376DD9C-7083-4829-B70D-A5FDF92BF1FB}"/>
    <dgm:cxn modelId="{316176D3-331A-4CC0-8D7B-84A1284409CF}" type="presOf" srcId="{F5DDA341-2D23-4BF6-AE0B-DB398DFDE05E}" destId="{22516E29-FC68-4235-B525-957E8FBB2CC2}" srcOrd="0" destOrd="6" presId="urn:microsoft.com/office/officeart/2005/8/layout/vList2"/>
    <dgm:cxn modelId="{692D8F3E-580D-4B38-B4B9-A2C0D3F8A227}" srcId="{72576984-91DD-4F6C-98DB-C6C2E87584F3}" destId="{77B6F9D2-5872-4B8D-B13C-9DC0EB35C6DC}" srcOrd="0" destOrd="0" parTransId="{4E7189C5-EEB5-4B35-9345-DFC2E75C31E9}" sibTransId="{8FC61EC1-A749-4CED-8D11-A0B831907E4D}"/>
    <dgm:cxn modelId="{C5FDE2B1-AA71-49EB-915C-914AD13027FB}" srcId="{ED98A5C5-3374-4CAE-BBB7-188BAB1C6E36}" destId="{F5DDA341-2D23-4BF6-AE0B-DB398DFDE05E}" srcOrd="0" destOrd="0" parTransId="{A9495D7D-CC20-4A2E-8B7A-DFB318102A8F}" sibTransId="{FEB832A8-770D-486F-996F-3A9F6C7A0913}"/>
    <dgm:cxn modelId="{730BF60D-388B-414E-BD8F-B5E983090D5E}" srcId="{72576984-91DD-4F6C-98DB-C6C2E87584F3}" destId="{DD841FB4-2ACB-40CD-A1BC-7A7F16D153FA}" srcOrd="2" destOrd="0" parTransId="{074FFF3C-9DB6-46C3-B129-F63F98A3F53D}" sibTransId="{749A2D36-831A-4F15-8AF5-FBB7A1C9FEF7}"/>
    <dgm:cxn modelId="{77D0B8A5-E375-4EAA-A6F2-5A1FB40B5E17}" type="presOf" srcId="{FE8FE60B-1B76-4F72-9AF9-0C0FE0784067}" destId="{22516E29-FC68-4235-B525-957E8FBB2CC2}" srcOrd="0" destOrd="3" presId="urn:microsoft.com/office/officeart/2005/8/layout/vList2"/>
    <dgm:cxn modelId="{501C3F76-0C03-4B00-BE7D-E1D7AB22BDD8}" type="presOf" srcId="{C489A1AF-1346-4B2A-B2FE-C78F6DD1595B}" destId="{22516E29-FC68-4235-B525-957E8FBB2CC2}" srcOrd="0" destOrd="4" presId="urn:microsoft.com/office/officeart/2005/8/layout/vList2"/>
    <dgm:cxn modelId="{E4B9E696-3089-4414-A052-D01418276C90}" type="presOf" srcId="{6C1220DC-7A42-45EF-905C-D557BDDF9E29}" destId="{22516E29-FC68-4235-B525-957E8FBB2CC2}" srcOrd="0" destOrd="10" presId="urn:microsoft.com/office/officeart/2005/8/layout/vList2"/>
    <dgm:cxn modelId="{4F0B7EB1-ECD1-4B31-BE1C-3627C964BB53}" srcId="{77B6F9D2-5872-4B8D-B13C-9DC0EB35C6DC}" destId="{5C26448B-384E-4DDC-B756-D97D2881B4A2}" srcOrd="0" destOrd="0" parTransId="{8BC552E5-D75B-42EA-A6D6-105F9A38AEC1}" sibTransId="{5DEA5750-C549-4619-B4E5-D7685A3C9208}"/>
    <dgm:cxn modelId="{10914711-9EAE-4062-83E0-CE6470E67171}" srcId="{72576984-91DD-4F6C-98DB-C6C2E87584F3}" destId="{ED98A5C5-3374-4CAE-BBB7-188BAB1C6E36}" srcOrd="1" destOrd="0" parTransId="{C2450B17-92B7-4457-AFB2-1FEB04255C91}" sibTransId="{2C144F35-7218-4B65-89F1-86638B321445}"/>
    <dgm:cxn modelId="{6113EEAC-CBB5-4C83-AFCF-F5A94F5AB5FB}" srcId="{B6E487E3-D46A-4417-B7A6-9FE91C097C61}" destId="{72576984-91DD-4F6C-98DB-C6C2E87584F3}" srcOrd="0" destOrd="0" parTransId="{E222CFAB-62E1-4DAA-9E96-A2CCD9005175}" sibTransId="{6D1CE9F5-21F9-44CD-A027-EC3D0082323F}"/>
    <dgm:cxn modelId="{E893D9B6-63F2-43BC-BDAE-CDE9F7752C54}" type="presOf" srcId="{D4F49A5B-4B38-45FD-8C91-6E6086FD5835}" destId="{22516E29-FC68-4235-B525-957E8FBB2CC2}" srcOrd="0" destOrd="7" presId="urn:microsoft.com/office/officeart/2005/8/layout/vList2"/>
    <dgm:cxn modelId="{9A1B7CC4-4C2E-41CF-BEB4-628428136F3A}" type="presOf" srcId="{5C26448B-384E-4DDC-B756-D97D2881B4A2}" destId="{22516E29-FC68-4235-B525-957E8FBB2CC2}" srcOrd="0" destOrd="1" presId="urn:microsoft.com/office/officeart/2005/8/layout/vList2"/>
    <dgm:cxn modelId="{3BF5B35D-048A-4F0A-8646-F27A9778CFEA}" type="presOf" srcId="{B6E487E3-D46A-4417-B7A6-9FE91C097C61}" destId="{53429D14-92DB-4B4E-943E-AF2C58FB59D0}" srcOrd="0" destOrd="0" presId="urn:microsoft.com/office/officeart/2005/8/layout/vList2"/>
    <dgm:cxn modelId="{FD8BB22E-1E50-452D-AB48-A6389BA896F3}" type="presOf" srcId="{92792435-744B-487A-B3A7-958998EF3FD5}" destId="{22516E29-FC68-4235-B525-957E8FBB2CC2}" srcOrd="0" destOrd="8" presId="urn:microsoft.com/office/officeart/2005/8/layout/vList2"/>
    <dgm:cxn modelId="{89697C88-0F46-42B7-ABF0-EE659E9B020F}" type="presOf" srcId="{72576984-91DD-4F6C-98DB-C6C2E87584F3}" destId="{43A8834F-ADE8-4EB2-8614-07E8E909B763}" srcOrd="0" destOrd="0" presId="urn:microsoft.com/office/officeart/2005/8/layout/vList2"/>
    <dgm:cxn modelId="{511D209A-C294-41F8-8D17-2CAC572E3671}" type="presOf" srcId="{DEC7A18D-0A9D-4FE4-AB7C-2A96E46E32B8}" destId="{22516E29-FC68-4235-B525-957E8FBB2CC2}" srcOrd="0" destOrd="2" presId="urn:microsoft.com/office/officeart/2005/8/layout/vList2"/>
    <dgm:cxn modelId="{DE77B3E6-A61A-499E-A539-B233D1D24C84}" type="presOf" srcId="{DD841FB4-2ACB-40CD-A1BC-7A7F16D153FA}" destId="{22516E29-FC68-4235-B525-957E8FBB2CC2}" srcOrd="0" destOrd="9" presId="urn:microsoft.com/office/officeart/2005/8/layout/vList2"/>
    <dgm:cxn modelId="{8BD8E305-F794-4CB3-97B1-229F66C6B277}" srcId="{72576984-91DD-4F6C-98DB-C6C2E87584F3}" destId="{6C1220DC-7A42-45EF-905C-D557BDDF9E29}" srcOrd="3" destOrd="0" parTransId="{6B8F0FA3-E551-4D3B-BE21-1A6BB02EFE6E}" sibTransId="{E697AD4A-DD2C-4958-A83A-C02B5980D5C8}"/>
    <dgm:cxn modelId="{6300B9FB-A2FC-4670-A280-496B635540DB}" srcId="{77B6F9D2-5872-4B8D-B13C-9DC0EB35C6DC}" destId="{C489A1AF-1346-4B2A-B2FE-C78F6DD1595B}" srcOrd="3" destOrd="0" parTransId="{5D3C2D6A-3072-49E5-A9B5-FA830C60A074}" sibTransId="{11F855AB-AE25-4331-B576-F8775766378C}"/>
    <dgm:cxn modelId="{AE23B99A-2A20-478D-9B84-A56AB45CC564}" type="presOf" srcId="{ED98A5C5-3374-4CAE-BBB7-188BAB1C6E36}" destId="{22516E29-FC68-4235-B525-957E8FBB2CC2}" srcOrd="0" destOrd="5" presId="urn:microsoft.com/office/officeart/2005/8/layout/vList2"/>
    <dgm:cxn modelId="{1B3C3E24-FC7A-42E6-8FDF-A9F74C1E194B}" type="presParOf" srcId="{53429D14-92DB-4B4E-943E-AF2C58FB59D0}" destId="{43A8834F-ADE8-4EB2-8614-07E8E909B763}" srcOrd="0" destOrd="0" presId="urn:microsoft.com/office/officeart/2005/8/layout/vList2"/>
    <dgm:cxn modelId="{A0FE81C7-6110-4512-93C7-93CE5F471A78}" type="presParOf" srcId="{53429D14-92DB-4B4E-943E-AF2C58FB59D0}" destId="{22516E29-FC68-4235-B525-957E8FBB2CC2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rgbClr val="E2AC00"/>
        </a:solidFill>
      </dgm:spPr>
      <dgm:t>
        <a:bodyPr/>
        <a:lstStyle/>
        <a:p>
          <a:pPr algn="just"/>
          <a:r>
            <a:rPr lang="ru-RU" sz="1800" b="1" baseline="0" dirty="0" smtClean="0"/>
            <a:t>Оформление получателями заявлений на обработку персональных данных и направление комплекта материалов в Правительство области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4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7746" custScaleY="142338" custLinFactY="-448" custLinFactNeighborX="7827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NeighborX="-41524" custLinFactNeighborY="-9656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4F70F56-4893-4F7F-BC1B-0DFEC8605195}" type="presOf" srcId="{10FD7243-DBEA-4098-AB4E-C7B7E1209E8F}" destId="{A7217D00-E232-4637-AD75-679D2F048C33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F1810238-3521-4046-B223-88DD0E55B6F5}" type="presOf" srcId="{7D3EDE78-357E-4F7E-95AF-93BAD733999C}" destId="{B19A45E8-9114-46B8-ABB1-C5D4B5041A75}" srcOrd="0" destOrd="0" presId="urn:microsoft.com/office/officeart/2009/3/layout/IncreasingArrowsProcess"/>
    <dgm:cxn modelId="{88ACF8F6-D9B5-48E8-8738-AAC4447F60E5}" type="presOf" srcId="{DCBBB76E-1E80-43CE-A3E4-F678CD28F155}" destId="{EA120FCF-C6AA-4B87-877E-5992B78CA861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A0A179F8-908D-4E16-BE93-1397DD153025}" type="presParOf" srcId="{A7217D00-E232-4637-AD75-679D2F048C33}" destId="{B19A45E8-9114-46B8-ABB1-C5D4B5041A75}" srcOrd="0" destOrd="0" presId="urn:microsoft.com/office/officeart/2009/3/layout/IncreasingArrowsProcess"/>
    <dgm:cxn modelId="{071701FC-0917-4FC2-A701-8739D5E16926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>
        <a:solidFill>
          <a:srgbClr val="E2AC00"/>
        </a:solidFill>
      </dgm:spPr>
      <dgm:t>
        <a:bodyPr/>
        <a:lstStyle/>
        <a:p>
          <a:r>
            <a:rPr lang="ru-RU" sz="1800" b="1" dirty="0" smtClean="0"/>
            <a:t>Оформление заявления</a:t>
          </a:r>
          <a:endParaRPr lang="ru-RU" sz="1800" b="1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31FDA4C3-4EA5-4900-83F2-CC6A15BFC6F1}">
      <dgm:prSet phldrT="[Текст]" custT="1"/>
      <dgm:spPr>
        <a:solidFill>
          <a:srgbClr val="E2AC00"/>
        </a:solidFill>
      </dgm:spPr>
      <dgm:t>
        <a:bodyPr/>
        <a:lstStyle/>
        <a:p>
          <a:r>
            <a:rPr lang="ru-RU" sz="1800" b="1" dirty="0" smtClean="0"/>
            <a:t>Проверка информации о </a:t>
          </a:r>
          <a:r>
            <a:rPr lang="ru-RU" sz="1800" b="1" dirty="0" smtClean="0"/>
            <a:t>получателях ответственным сотрудником в организации</a:t>
          </a:r>
          <a:endParaRPr lang="ru-RU" sz="1800" b="1" dirty="0"/>
        </a:p>
      </dgm:t>
    </dgm:pt>
    <dgm:pt modelId="{DD4398F1-2EA4-4152-AA46-86E1117FD7C7}" type="parTrans" cxnId="{0B2D8989-C074-41C2-9990-43A5226A271C}">
      <dgm:prSet/>
      <dgm:spPr/>
      <dgm:t>
        <a:bodyPr/>
        <a:lstStyle/>
        <a:p>
          <a:endParaRPr lang="ru-RU"/>
        </a:p>
      </dgm:t>
    </dgm:pt>
    <dgm:pt modelId="{B54AA26F-6B83-41E3-B809-CF3400994A78}" type="sibTrans" cxnId="{0B2D8989-C074-41C2-9990-43A5226A271C}">
      <dgm:prSet/>
      <dgm:spPr/>
      <dgm:t>
        <a:bodyPr/>
        <a:lstStyle/>
        <a:p>
          <a:endParaRPr lang="ru-RU"/>
        </a:p>
      </dgm:t>
    </dgm:pt>
    <dgm:pt modelId="{7F14D16A-FC7A-484B-BF30-F2C0F5AC9ECF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 smtClean="0"/>
            <a:t>Заполняется в строгом соответствии с установленной формой </a:t>
          </a:r>
          <a:r>
            <a:rPr lang="ru-RU" sz="1600" dirty="0" smtClean="0"/>
            <a:t>заявления (приложение 2 к Положению)</a:t>
          </a:r>
          <a:endParaRPr lang="ru-RU" sz="1600" dirty="0"/>
        </a:p>
      </dgm:t>
    </dgm:pt>
    <dgm:pt modelId="{0675F527-3AB2-4769-95A5-4C8A4AF12586}" type="parTrans" cxnId="{34E8187A-4F25-4E10-816F-F24DA9E466B5}">
      <dgm:prSet/>
      <dgm:spPr/>
      <dgm:t>
        <a:bodyPr/>
        <a:lstStyle/>
        <a:p>
          <a:endParaRPr lang="ru-RU"/>
        </a:p>
      </dgm:t>
    </dgm:pt>
    <dgm:pt modelId="{56615905-A83C-4246-A470-3CEE108E067F}" type="sibTrans" cxnId="{34E8187A-4F25-4E10-816F-F24DA9E466B5}">
      <dgm:prSet/>
      <dgm:spPr/>
      <dgm:t>
        <a:bodyPr/>
        <a:lstStyle/>
        <a:p>
          <a:endParaRPr lang="ru-RU"/>
        </a:p>
      </dgm:t>
    </dgm:pt>
    <dgm:pt modelId="{ED4CAC81-4620-4B64-B23B-B5AD829B36D1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 smtClean="0"/>
            <a:t>К заявлению прилагается информация </a:t>
          </a:r>
          <a:r>
            <a:rPr lang="ru-RU" sz="1600" dirty="0" smtClean="0"/>
            <a:t>о счете </a:t>
          </a:r>
          <a:r>
            <a:rPr lang="ru-RU" sz="1600" dirty="0" smtClean="0"/>
            <a:t>с реквизитами банка</a:t>
          </a:r>
          <a:endParaRPr lang="ru-RU" sz="1600" dirty="0"/>
        </a:p>
      </dgm:t>
    </dgm:pt>
    <dgm:pt modelId="{E44D1B61-EBC8-4CE2-856E-F24696AECE6D}" type="parTrans" cxnId="{F50E15A7-C9BD-495F-B92D-D70F7EF0CE1C}">
      <dgm:prSet/>
      <dgm:spPr/>
      <dgm:t>
        <a:bodyPr/>
        <a:lstStyle/>
        <a:p>
          <a:endParaRPr lang="ru-RU"/>
        </a:p>
      </dgm:t>
    </dgm:pt>
    <dgm:pt modelId="{6BDB0380-F19A-466C-8B69-6E7EC467D11E}" type="sibTrans" cxnId="{F50E15A7-C9BD-495F-B92D-D70F7EF0CE1C}">
      <dgm:prSet/>
      <dgm:spPr/>
      <dgm:t>
        <a:bodyPr/>
        <a:lstStyle/>
        <a:p>
          <a:endParaRPr lang="ru-RU"/>
        </a:p>
      </dgm:t>
    </dgm:pt>
    <dgm:pt modelId="{72576984-91DD-4F6C-98DB-C6C2E87584F3}">
      <dgm:prSet phldrT="[Текст]" custT="1"/>
      <dgm:spPr/>
      <dgm:t>
        <a:bodyPr/>
        <a:lstStyle/>
        <a:p>
          <a:pPr algn="l"/>
          <a:r>
            <a:rPr lang="ru-RU" sz="1600" dirty="0" smtClean="0"/>
            <a:t>Полнота сведений в заявлении (без ИНН не принимается)</a:t>
          </a:r>
          <a:endParaRPr lang="ru-RU" sz="1600" dirty="0"/>
        </a:p>
      </dgm:t>
    </dgm:pt>
    <dgm:pt modelId="{E222CFAB-62E1-4DAA-9E96-A2CCD9005175}" type="parTrans" cxnId="{6113EEAC-CBB5-4C83-AFCF-F5A94F5AB5FB}">
      <dgm:prSet/>
      <dgm:spPr/>
      <dgm:t>
        <a:bodyPr/>
        <a:lstStyle/>
        <a:p>
          <a:endParaRPr lang="ru-RU"/>
        </a:p>
      </dgm:t>
    </dgm:pt>
    <dgm:pt modelId="{6D1CE9F5-21F9-44CD-A027-EC3D0082323F}" type="sibTrans" cxnId="{6113EEAC-CBB5-4C83-AFCF-F5A94F5AB5FB}">
      <dgm:prSet/>
      <dgm:spPr/>
      <dgm:t>
        <a:bodyPr/>
        <a:lstStyle/>
        <a:p>
          <a:endParaRPr lang="ru-RU"/>
        </a:p>
      </dgm:t>
    </dgm:pt>
    <dgm:pt modelId="{581CF164-180B-403A-AE33-B1565D99BA33}">
      <dgm:prSet phldrT="[Текст]" custT="1"/>
      <dgm:spPr/>
      <dgm:t>
        <a:bodyPr/>
        <a:lstStyle/>
        <a:p>
          <a:pPr algn="just"/>
          <a:r>
            <a:rPr lang="ru-RU" sz="1600" dirty="0" smtClean="0"/>
            <a:t>Требования к представлению </a:t>
          </a:r>
          <a:r>
            <a:rPr lang="ru-RU" sz="1600" dirty="0" smtClean="0"/>
            <a:t>данных о </a:t>
          </a:r>
          <a:r>
            <a:rPr lang="ru-RU" sz="1600" dirty="0" smtClean="0"/>
            <a:t>счете (справка </a:t>
          </a:r>
          <a:r>
            <a:rPr lang="ru-RU" sz="1600" dirty="0" smtClean="0"/>
            <a:t>банка </a:t>
          </a:r>
          <a:r>
            <a:rPr lang="ru-RU" sz="1600" dirty="0" smtClean="0"/>
            <a:t>с печатью; если документ оформлен в произвольной форме с указанием данных стипендиальной карты, то необходимо сведения заверить подписью </a:t>
          </a:r>
          <a:r>
            <a:rPr lang="ru-RU" sz="1600" dirty="0" smtClean="0"/>
            <a:t>уполномоченного сотрудника образовательной организации)</a:t>
          </a:r>
          <a:endParaRPr lang="ru-RU" sz="1600" dirty="0"/>
        </a:p>
      </dgm:t>
    </dgm:pt>
    <dgm:pt modelId="{72F31C59-6DCC-4F1D-ADFC-34823C434FF3}" type="parTrans" cxnId="{785BC6B3-3768-4C91-9865-94A17E24E348}">
      <dgm:prSet/>
      <dgm:spPr/>
      <dgm:t>
        <a:bodyPr/>
        <a:lstStyle/>
        <a:p>
          <a:endParaRPr lang="ru-RU"/>
        </a:p>
      </dgm:t>
    </dgm:pt>
    <dgm:pt modelId="{C5B8EDD5-AEBE-41AF-A0AF-5DA4AE4A7A1B}" type="sibTrans" cxnId="{785BC6B3-3768-4C91-9865-94A17E24E348}">
      <dgm:prSet/>
      <dgm:spPr/>
      <dgm:t>
        <a:bodyPr/>
        <a:lstStyle/>
        <a:p>
          <a:endParaRPr lang="ru-RU"/>
        </a:p>
      </dgm:t>
    </dgm:pt>
    <dgm:pt modelId="{385C32F8-2C1C-40BD-8D2F-4C3396DDAFDF}">
      <dgm:prSet phldrT="[Текст]" custT="1"/>
      <dgm:spPr/>
      <dgm:t>
        <a:bodyPr/>
        <a:lstStyle/>
        <a:p>
          <a:pPr algn="just">
            <a:lnSpc>
              <a:spcPct val="100000"/>
            </a:lnSpc>
            <a:spcBef>
              <a:spcPts val="3000"/>
            </a:spcBef>
            <a:spcAft>
              <a:spcPts val="0"/>
            </a:spcAft>
          </a:pPr>
          <a:r>
            <a:rPr lang="ru-RU" sz="1600" dirty="0" smtClean="0"/>
            <a:t>Заявления получателей в полном комплекте от организации передаются уполномоченным </a:t>
          </a:r>
          <a:r>
            <a:rPr lang="ru-RU" sz="1600" dirty="0" smtClean="0"/>
            <a:t>сотрудником лично уполномоченному сотруднику Правительства области</a:t>
          </a:r>
          <a:endParaRPr lang="ru-RU" sz="1600" dirty="0"/>
        </a:p>
      </dgm:t>
    </dgm:pt>
    <dgm:pt modelId="{093F753D-8F85-46DE-B8F4-553972759059}" type="parTrans" cxnId="{A7E30112-B615-4936-8F8F-D8170BC8BF0F}">
      <dgm:prSet/>
      <dgm:spPr/>
      <dgm:t>
        <a:bodyPr/>
        <a:lstStyle/>
        <a:p>
          <a:endParaRPr lang="ru-RU"/>
        </a:p>
      </dgm:t>
    </dgm:pt>
    <dgm:pt modelId="{0D2AC5E3-DB7B-4785-A0D4-B6AF745090DC}" type="sibTrans" cxnId="{A7E30112-B615-4936-8F8F-D8170BC8BF0F}">
      <dgm:prSet/>
      <dgm:spPr/>
      <dgm:t>
        <a:bodyPr/>
        <a:lstStyle/>
        <a:p>
          <a:endParaRPr lang="ru-RU"/>
        </a:p>
      </dgm:t>
    </dgm:pt>
    <dgm:pt modelId="{ECE7698C-EA46-4FF9-B78A-F2ABFD697589}">
      <dgm:prSet phldrT="[Текст]" custT="1"/>
      <dgm:spPr>
        <a:solidFill>
          <a:srgbClr val="E2AC00"/>
        </a:solidFill>
      </dgm:spPr>
      <dgm:t>
        <a:bodyPr/>
        <a:lstStyle/>
        <a:p>
          <a:r>
            <a:rPr lang="ru-RU" sz="1800" b="1" dirty="0" smtClean="0"/>
            <a:t>Направление комплекта заявлений в Правительство области</a:t>
          </a:r>
          <a:endParaRPr lang="ru-RU" sz="1800" b="1" dirty="0"/>
        </a:p>
      </dgm:t>
    </dgm:pt>
    <dgm:pt modelId="{BDC5CE6F-9D0F-4670-AAF2-719C4651ACFB}" type="parTrans" cxnId="{13271B3E-118C-4B5A-8C7A-35F9E818D38C}">
      <dgm:prSet/>
      <dgm:spPr/>
      <dgm:t>
        <a:bodyPr/>
        <a:lstStyle/>
        <a:p>
          <a:endParaRPr lang="ru-RU"/>
        </a:p>
      </dgm:t>
    </dgm:pt>
    <dgm:pt modelId="{147C9DFD-B7C5-4B85-81E4-57D09A533376}" type="sibTrans" cxnId="{13271B3E-118C-4B5A-8C7A-35F9E818D38C}">
      <dgm:prSet/>
      <dgm:spPr/>
      <dgm:t>
        <a:bodyPr/>
        <a:lstStyle/>
        <a:p>
          <a:endParaRPr lang="ru-RU"/>
        </a:p>
      </dgm:t>
    </dgm:pt>
    <dgm:pt modelId="{B9D9D0E7-62F7-437C-955B-67FEB55075CC}">
      <dgm:prSet phldrT="[Текст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600" dirty="0" smtClean="0"/>
            <a:t>Заявление с приложением передается ответственному за сбор информации в организации</a:t>
          </a:r>
          <a:endParaRPr lang="ru-RU" sz="1600" dirty="0"/>
        </a:p>
      </dgm:t>
    </dgm:pt>
    <dgm:pt modelId="{913C1C8C-0BFC-4DA8-88DA-52FD7942EE4C}" type="parTrans" cxnId="{8799F4A9-2167-480D-9E1B-79933121F8A4}">
      <dgm:prSet/>
      <dgm:spPr/>
      <dgm:t>
        <a:bodyPr/>
        <a:lstStyle/>
        <a:p>
          <a:endParaRPr lang="ru-RU"/>
        </a:p>
      </dgm:t>
    </dgm:pt>
    <dgm:pt modelId="{53F99924-6177-4347-89C4-5A50D7075CEE}" type="sibTrans" cxnId="{8799F4A9-2167-480D-9E1B-79933121F8A4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53B2CDF-8148-4F86-AD92-50484BF3B5B2}" type="pres">
      <dgm:prSet presAssocID="{3619DE1C-FEB4-491C-8F7A-9AB7650FBCEF}" presName="parentText" presStyleLbl="node1" presStyleIdx="0" presStyleCnt="3" custScaleY="5796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FE0003-C8E2-43A7-AD91-A4F84F7F4205}" type="pres">
      <dgm:prSet presAssocID="{3619DE1C-FEB4-491C-8F7A-9AB7650FBCEF}" presName="childText" presStyleLbl="revTx" presStyleIdx="0" presStyleCnt="3" custLinFactNeighborY="10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AB8B24-2344-4065-A96B-6F9A22FD586E}" type="pres">
      <dgm:prSet presAssocID="{31FDA4C3-4EA5-4900-83F2-CC6A15BFC6F1}" presName="parentText" presStyleLbl="node1" presStyleIdx="1" presStyleCnt="3" custScaleY="5447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718955-CD62-4459-9D71-3BB2AACDDFFC}" type="pres">
      <dgm:prSet presAssocID="{31FDA4C3-4EA5-4900-83F2-CC6A15BFC6F1}" presName="childText" presStyleLbl="revTx" presStyleIdx="1" presStyleCnt="3" custLinFactNeighborX="-65" custLinFactNeighborY="16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61448B-664B-4DF0-B2E4-899D5E92BDBA}" type="pres">
      <dgm:prSet presAssocID="{ECE7698C-EA46-4FF9-B78A-F2ABFD697589}" presName="parentText" presStyleLbl="node1" presStyleIdx="2" presStyleCnt="3" custScaleX="100000" custScaleY="49854" custLinFactNeighborY="450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8F022C-FCB0-43DE-9515-DAFBE34F99A9}" type="pres">
      <dgm:prSet presAssocID="{ECE7698C-EA46-4FF9-B78A-F2ABFD697589}" presName="childText" presStyleLbl="revTx" presStyleIdx="2" presStyleCnt="3" custLinFactNeighborY="245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02266C-840F-4D05-BE8D-32344B093815}" type="presOf" srcId="{3619DE1C-FEB4-491C-8F7A-9AB7650FBCEF}" destId="{053B2CDF-8148-4F86-AD92-50484BF3B5B2}" srcOrd="0" destOrd="0" presId="urn:microsoft.com/office/officeart/2005/8/layout/vList2"/>
    <dgm:cxn modelId="{785BC6B3-3768-4C91-9865-94A17E24E348}" srcId="{31FDA4C3-4EA5-4900-83F2-CC6A15BFC6F1}" destId="{581CF164-180B-403A-AE33-B1565D99BA33}" srcOrd="1" destOrd="0" parTransId="{72F31C59-6DCC-4F1D-ADFC-34823C434FF3}" sibTransId="{C5B8EDD5-AEBE-41AF-A0AF-5DA4AE4A7A1B}"/>
    <dgm:cxn modelId="{2AEBC0D6-C6F1-4A5E-8886-B5D070E17BB0}" type="presOf" srcId="{72576984-91DD-4F6C-98DB-C6C2E87584F3}" destId="{98718955-CD62-4459-9D71-3BB2AACDDFFC}" srcOrd="0" destOrd="0" presId="urn:microsoft.com/office/officeart/2005/8/layout/vList2"/>
    <dgm:cxn modelId="{C19B8EE6-A34A-4BB7-BEE9-59B2F35A0B58}" type="presOf" srcId="{ED4CAC81-4620-4B64-B23B-B5AD829B36D1}" destId="{ADFE0003-C8E2-43A7-AD91-A4F84F7F4205}" srcOrd="0" destOrd="1" presId="urn:microsoft.com/office/officeart/2005/8/layout/vList2"/>
    <dgm:cxn modelId="{13271B3E-118C-4B5A-8C7A-35F9E818D38C}" srcId="{B6E487E3-D46A-4417-B7A6-9FE91C097C61}" destId="{ECE7698C-EA46-4FF9-B78A-F2ABFD697589}" srcOrd="2" destOrd="0" parTransId="{BDC5CE6F-9D0F-4670-AAF2-719C4651ACFB}" sibTransId="{147C9DFD-B7C5-4B85-81E4-57D09A533376}"/>
    <dgm:cxn modelId="{16C7A112-0918-44B1-AD58-396157B7A12C}" type="presOf" srcId="{B6E487E3-D46A-4417-B7A6-9FE91C097C61}" destId="{53429D14-92DB-4B4E-943E-AF2C58FB59D0}" srcOrd="0" destOrd="0" presId="urn:microsoft.com/office/officeart/2005/8/layout/vList2"/>
    <dgm:cxn modelId="{A7E30112-B615-4936-8F8F-D8170BC8BF0F}" srcId="{ECE7698C-EA46-4FF9-B78A-F2ABFD697589}" destId="{385C32F8-2C1C-40BD-8D2F-4C3396DDAFDF}" srcOrd="0" destOrd="0" parTransId="{093F753D-8F85-46DE-B8F4-553972759059}" sibTransId="{0D2AC5E3-DB7B-4785-A0D4-B6AF745090DC}"/>
    <dgm:cxn modelId="{FE29B50D-8BD0-4F5E-AD03-985CB07A5DEF}" type="presOf" srcId="{581CF164-180B-403A-AE33-B1565D99BA33}" destId="{98718955-CD62-4459-9D71-3BB2AACDDFFC}" srcOrd="0" destOrd="1" presId="urn:microsoft.com/office/officeart/2005/8/layout/vList2"/>
    <dgm:cxn modelId="{C25C045E-A072-4912-8492-466B636A3E37}" type="presOf" srcId="{385C32F8-2C1C-40BD-8D2F-4C3396DDAFDF}" destId="{038F022C-FCB0-43DE-9515-DAFBE34F99A9}" srcOrd="0" destOrd="0" presId="urn:microsoft.com/office/officeart/2005/8/layout/vList2"/>
    <dgm:cxn modelId="{2F515BD3-7651-447F-BCE9-C5A6A0D63F90}" type="presOf" srcId="{B9D9D0E7-62F7-437C-955B-67FEB55075CC}" destId="{ADFE0003-C8E2-43A7-AD91-A4F84F7F4205}" srcOrd="0" destOrd="2" presId="urn:microsoft.com/office/officeart/2005/8/layout/vList2"/>
    <dgm:cxn modelId="{EBB47A88-4667-43DE-8225-7CD4BE5F6E6F}" srcId="{B6E487E3-D46A-4417-B7A6-9FE91C097C61}" destId="{3619DE1C-FEB4-491C-8F7A-9AB7650FBCEF}" srcOrd="0" destOrd="0" parTransId="{0E747785-8349-4344-B675-838E84156474}" sibTransId="{4A294269-245C-4AEC-B913-8353AB232A7F}"/>
    <dgm:cxn modelId="{F50E15A7-C9BD-495F-B92D-D70F7EF0CE1C}" srcId="{3619DE1C-FEB4-491C-8F7A-9AB7650FBCEF}" destId="{ED4CAC81-4620-4B64-B23B-B5AD829B36D1}" srcOrd="1" destOrd="0" parTransId="{E44D1B61-EBC8-4CE2-856E-F24696AECE6D}" sibTransId="{6BDB0380-F19A-466C-8B69-6E7EC467D11E}"/>
    <dgm:cxn modelId="{34E8187A-4F25-4E10-816F-F24DA9E466B5}" srcId="{3619DE1C-FEB4-491C-8F7A-9AB7650FBCEF}" destId="{7F14D16A-FC7A-484B-BF30-F2C0F5AC9ECF}" srcOrd="0" destOrd="0" parTransId="{0675F527-3AB2-4769-95A5-4C8A4AF12586}" sibTransId="{56615905-A83C-4246-A470-3CEE108E067F}"/>
    <dgm:cxn modelId="{6113EEAC-CBB5-4C83-AFCF-F5A94F5AB5FB}" srcId="{31FDA4C3-4EA5-4900-83F2-CC6A15BFC6F1}" destId="{72576984-91DD-4F6C-98DB-C6C2E87584F3}" srcOrd="0" destOrd="0" parTransId="{E222CFAB-62E1-4DAA-9E96-A2CCD9005175}" sibTransId="{6D1CE9F5-21F9-44CD-A027-EC3D0082323F}"/>
    <dgm:cxn modelId="{E32D6CCD-3EB5-4444-9437-1917CC83CEC3}" type="presOf" srcId="{7F14D16A-FC7A-484B-BF30-F2C0F5AC9ECF}" destId="{ADFE0003-C8E2-43A7-AD91-A4F84F7F4205}" srcOrd="0" destOrd="0" presId="urn:microsoft.com/office/officeart/2005/8/layout/vList2"/>
    <dgm:cxn modelId="{8799F4A9-2167-480D-9E1B-79933121F8A4}" srcId="{3619DE1C-FEB4-491C-8F7A-9AB7650FBCEF}" destId="{B9D9D0E7-62F7-437C-955B-67FEB55075CC}" srcOrd="2" destOrd="0" parTransId="{913C1C8C-0BFC-4DA8-88DA-52FD7942EE4C}" sibTransId="{53F99924-6177-4347-89C4-5A50D7075CEE}"/>
    <dgm:cxn modelId="{0355B727-F714-43B2-9320-6F838677BB02}" type="presOf" srcId="{ECE7698C-EA46-4FF9-B78A-F2ABFD697589}" destId="{CA61448B-664B-4DF0-B2E4-899D5E92BDBA}" srcOrd="0" destOrd="0" presId="urn:microsoft.com/office/officeart/2005/8/layout/vList2"/>
    <dgm:cxn modelId="{C12B024D-C5A2-457D-B05C-B76E067EA9C7}" type="presOf" srcId="{31FDA4C3-4EA5-4900-83F2-CC6A15BFC6F1}" destId="{3EAB8B24-2344-4065-A96B-6F9A22FD586E}" srcOrd="0" destOrd="0" presId="urn:microsoft.com/office/officeart/2005/8/layout/vList2"/>
    <dgm:cxn modelId="{0B2D8989-C074-41C2-9990-43A5226A271C}" srcId="{B6E487E3-D46A-4417-B7A6-9FE91C097C61}" destId="{31FDA4C3-4EA5-4900-83F2-CC6A15BFC6F1}" srcOrd="1" destOrd="0" parTransId="{DD4398F1-2EA4-4152-AA46-86E1117FD7C7}" sibTransId="{B54AA26F-6B83-41E3-B809-CF3400994A78}"/>
    <dgm:cxn modelId="{74F1D6FD-21E2-45E0-87CD-8316EAFA1D34}" type="presParOf" srcId="{53429D14-92DB-4B4E-943E-AF2C58FB59D0}" destId="{053B2CDF-8148-4F86-AD92-50484BF3B5B2}" srcOrd="0" destOrd="0" presId="urn:microsoft.com/office/officeart/2005/8/layout/vList2"/>
    <dgm:cxn modelId="{8C859306-B65D-4A54-85D1-248356E46D2B}" type="presParOf" srcId="{53429D14-92DB-4B4E-943E-AF2C58FB59D0}" destId="{ADFE0003-C8E2-43A7-AD91-A4F84F7F4205}" srcOrd="1" destOrd="0" presId="urn:microsoft.com/office/officeart/2005/8/layout/vList2"/>
    <dgm:cxn modelId="{E4BA2BF2-C802-499B-BC87-8D6C4445AC02}" type="presParOf" srcId="{53429D14-92DB-4B4E-943E-AF2C58FB59D0}" destId="{3EAB8B24-2344-4065-A96B-6F9A22FD586E}" srcOrd="2" destOrd="0" presId="urn:microsoft.com/office/officeart/2005/8/layout/vList2"/>
    <dgm:cxn modelId="{F5D9F004-1A52-48EB-A17D-6BD86ACD5D02}" type="presParOf" srcId="{53429D14-92DB-4B4E-943E-AF2C58FB59D0}" destId="{98718955-CD62-4459-9D71-3BB2AACDDFFC}" srcOrd="3" destOrd="0" presId="urn:microsoft.com/office/officeart/2005/8/layout/vList2"/>
    <dgm:cxn modelId="{A9D953F8-36EF-47D9-A6AF-EC18050B6CFE}" type="presParOf" srcId="{53429D14-92DB-4B4E-943E-AF2C58FB59D0}" destId="{CA61448B-664B-4DF0-B2E4-899D5E92BDBA}" srcOrd="4" destOrd="0" presId="urn:microsoft.com/office/officeart/2005/8/layout/vList2"/>
    <dgm:cxn modelId="{22AA3A66-B83C-47C8-98CB-F66687B20174}" type="presParOf" srcId="{53429D14-92DB-4B4E-943E-AF2C58FB59D0}" destId="{038F022C-FCB0-43DE-9515-DAFBE34F99A9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/>
      <dgm:t>
        <a:bodyPr/>
        <a:lstStyle/>
        <a:p>
          <a:r>
            <a:rPr lang="ru-RU" sz="1800" b="1" dirty="0" smtClean="0"/>
            <a:t>Создание организационных предпосылок внутреннего отбора 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1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NeighborX="3606" custLinFactNeighborY="-9372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NeighborX="-44252" custLinFactNeighborY="-9555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0593C10-E881-4862-B04A-68129B5F798E}" type="presOf" srcId="{7D3EDE78-357E-4F7E-95AF-93BAD733999C}" destId="{B19A45E8-9114-46B8-ABB1-C5D4B5041A75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3669EDA5-E33F-4643-B307-2F74EF2E1A2D}" type="presOf" srcId="{10FD7243-DBEA-4098-AB4E-C7B7E1209E8F}" destId="{A7217D00-E232-4637-AD75-679D2F048C3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E369A015-4689-4691-9042-A2E6FA943B57}" type="presOf" srcId="{DCBBB76E-1E80-43CE-A3E4-F678CD28F155}" destId="{EA120FCF-C6AA-4B87-877E-5992B78CA861}" srcOrd="0" destOrd="0" presId="urn:microsoft.com/office/officeart/2009/3/layout/IncreasingArrowsProcess"/>
    <dgm:cxn modelId="{253823B6-CE6D-4AC9-982C-D9BFF78D49CA}" type="presParOf" srcId="{A7217D00-E232-4637-AD75-679D2F048C33}" destId="{B19A45E8-9114-46B8-ABB1-C5D4B5041A75}" srcOrd="0" destOrd="0" presId="urn:microsoft.com/office/officeart/2009/3/layout/IncreasingArrowsProcess"/>
    <dgm:cxn modelId="{CF9B19C4-6D0D-4466-93A3-0CFBC6766F7C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3C5FF3E-5FF2-43BD-8BBB-9BBE01C0E86C}">
      <dgm:prSet phldrT="[Текст]"/>
      <dgm:spPr/>
      <dgm:t>
        <a:bodyPr/>
        <a:lstStyle/>
        <a:p>
          <a:r>
            <a:rPr lang="ru-RU" b="1" dirty="0" smtClean="0"/>
            <a:t>Определение ответственного исполнителя, координаторов по целевым группам, технических исполнителей</a:t>
          </a:r>
          <a:endParaRPr lang="ru-RU" b="1" dirty="0"/>
        </a:p>
      </dgm:t>
    </dgm:pt>
    <dgm:pt modelId="{71242645-0254-4C8B-90D5-06CDA468EA62}" type="parTrans" cxnId="{BED63C91-E5BB-4562-8433-6492988989DA}">
      <dgm:prSet/>
      <dgm:spPr/>
      <dgm:t>
        <a:bodyPr/>
        <a:lstStyle/>
        <a:p>
          <a:endParaRPr lang="ru-RU"/>
        </a:p>
      </dgm:t>
    </dgm:pt>
    <dgm:pt modelId="{F1A5FCE2-320D-45C7-BB45-15E32D63961C}" type="sibTrans" cxnId="{BED63C91-E5BB-4562-8433-6492988989DA}">
      <dgm:prSet/>
      <dgm:spPr/>
      <dgm:t>
        <a:bodyPr/>
        <a:lstStyle/>
        <a:p>
          <a:endParaRPr lang="ru-RU"/>
        </a:p>
      </dgm:t>
    </dgm:pt>
    <dgm:pt modelId="{07300DBC-268F-4C29-AF05-7F3AD7FF96AD}">
      <dgm:prSet phldrT="[Текст]" custT="1"/>
      <dgm:spPr/>
      <dgm:t>
        <a:bodyPr/>
        <a:lstStyle/>
        <a:p>
          <a:r>
            <a:rPr lang="ru-RU" sz="1400" dirty="0" smtClean="0"/>
            <a:t>Общая организация и координация работ</a:t>
          </a:r>
          <a:endParaRPr lang="ru-RU" sz="1400" dirty="0"/>
        </a:p>
      </dgm:t>
    </dgm:pt>
    <dgm:pt modelId="{3835F35F-150A-4EDE-B053-8E47F358B38C}" type="parTrans" cxnId="{C360396F-B461-49E8-BFA3-332A7B832857}">
      <dgm:prSet/>
      <dgm:spPr/>
      <dgm:t>
        <a:bodyPr/>
        <a:lstStyle/>
        <a:p>
          <a:endParaRPr lang="ru-RU"/>
        </a:p>
      </dgm:t>
    </dgm:pt>
    <dgm:pt modelId="{56775A95-9757-43A3-860A-183165B301C5}" type="sibTrans" cxnId="{C360396F-B461-49E8-BFA3-332A7B832857}">
      <dgm:prSet/>
      <dgm:spPr/>
      <dgm:t>
        <a:bodyPr/>
        <a:lstStyle/>
        <a:p>
          <a:endParaRPr lang="ru-RU"/>
        </a:p>
      </dgm:t>
    </dgm:pt>
    <dgm:pt modelId="{7A787818-175C-45FC-9B36-3A91BF36EBF6}">
      <dgm:prSet phldrT="[Текст]"/>
      <dgm:spPr/>
      <dgm:t>
        <a:bodyPr/>
        <a:lstStyle/>
        <a:p>
          <a:r>
            <a:rPr lang="ru-RU" b="1" dirty="0" smtClean="0"/>
            <a:t>Разработка внутреннего положения     (нормативного акта)</a:t>
          </a:r>
          <a:endParaRPr lang="ru-RU" b="1" dirty="0"/>
        </a:p>
      </dgm:t>
    </dgm:pt>
    <dgm:pt modelId="{A4B8D60A-2173-496D-816B-F4B4027FC2C4}" type="parTrans" cxnId="{344C560E-107D-45AB-B216-7360B3492D8E}">
      <dgm:prSet/>
      <dgm:spPr/>
      <dgm:t>
        <a:bodyPr/>
        <a:lstStyle/>
        <a:p>
          <a:endParaRPr lang="ru-RU"/>
        </a:p>
      </dgm:t>
    </dgm:pt>
    <dgm:pt modelId="{8E86EFC2-2711-49C2-8E65-09FC28899287}" type="sibTrans" cxnId="{344C560E-107D-45AB-B216-7360B3492D8E}">
      <dgm:prSet/>
      <dgm:spPr/>
      <dgm:t>
        <a:bodyPr/>
        <a:lstStyle/>
        <a:p>
          <a:endParaRPr lang="ru-RU"/>
        </a:p>
      </dgm:t>
    </dgm:pt>
    <dgm:pt modelId="{AE650BDC-E8B3-4889-805C-C2DEADC8BD79}">
      <dgm:prSet phldrT="[Текст]" custT="1"/>
      <dgm:spPr/>
      <dgm:t>
        <a:bodyPr/>
        <a:lstStyle/>
        <a:p>
          <a:r>
            <a:rPr lang="ru-RU" sz="1400" dirty="0" smtClean="0"/>
            <a:t>Критерии отбора (п.3.7 Положения)</a:t>
          </a:r>
          <a:endParaRPr lang="ru-RU" sz="1400" dirty="0"/>
        </a:p>
      </dgm:t>
    </dgm:pt>
    <dgm:pt modelId="{33D4E4F2-D0BB-48DA-9A0D-4FF2E688128E}" type="parTrans" cxnId="{367AA1BF-1210-4C24-A508-9280F03A6C69}">
      <dgm:prSet/>
      <dgm:spPr/>
      <dgm:t>
        <a:bodyPr/>
        <a:lstStyle/>
        <a:p>
          <a:endParaRPr lang="ru-RU"/>
        </a:p>
      </dgm:t>
    </dgm:pt>
    <dgm:pt modelId="{64D3ED44-2A7E-4012-8B76-249B04A50508}" type="sibTrans" cxnId="{367AA1BF-1210-4C24-A508-9280F03A6C69}">
      <dgm:prSet/>
      <dgm:spPr/>
      <dgm:t>
        <a:bodyPr/>
        <a:lstStyle/>
        <a:p>
          <a:endParaRPr lang="ru-RU"/>
        </a:p>
      </dgm:t>
    </dgm:pt>
    <dgm:pt modelId="{A9291B38-94E5-4E35-BDD7-F872D0A35B1F}">
      <dgm:prSet phldrT="[Текст]"/>
      <dgm:spPr/>
      <dgm:t>
        <a:bodyPr/>
        <a:lstStyle/>
        <a:p>
          <a:r>
            <a:rPr lang="ru-RU" b="1" dirty="0" smtClean="0"/>
            <a:t>Информирование студентов, аспирантов, ординаторов</a:t>
          </a:r>
          <a:endParaRPr lang="ru-RU" b="1" dirty="0"/>
        </a:p>
      </dgm:t>
    </dgm:pt>
    <dgm:pt modelId="{721A1924-617F-4CE0-9F19-0C4FEAB85D64}" type="parTrans" cxnId="{F2980E51-19FE-4B37-9FBB-B6DBF7374110}">
      <dgm:prSet/>
      <dgm:spPr/>
      <dgm:t>
        <a:bodyPr/>
        <a:lstStyle/>
        <a:p>
          <a:endParaRPr lang="ru-RU"/>
        </a:p>
      </dgm:t>
    </dgm:pt>
    <dgm:pt modelId="{659D5A3F-EF6E-4A06-8D96-F3ADB181267D}" type="sibTrans" cxnId="{F2980E51-19FE-4B37-9FBB-B6DBF7374110}">
      <dgm:prSet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/>
      <dgm:t>
        <a:bodyPr/>
        <a:lstStyle/>
        <a:p>
          <a:r>
            <a:rPr lang="ru-RU" sz="1400" dirty="0" smtClean="0"/>
            <a:t>Широта, доступность, открытость информации</a:t>
          </a:r>
          <a:endParaRPr lang="ru-RU" sz="14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31FDA4C3-4EA5-4900-83F2-CC6A15BFC6F1}">
      <dgm:prSet phldrT="[Текст]" custT="1"/>
      <dgm:spPr/>
      <dgm:t>
        <a:bodyPr/>
        <a:lstStyle/>
        <a:p>
          <a:r>
            <a:rPr lang="ru-RU" sz="1400" dirty="0" smtClean="0"/>
            <a:t>Консультирование, обратная связь</a:t>
          </a:r>
          <a:endParaRPr lang="ru-RU" sz="1400" dirty="0"/>
        </a:p>
      </dgm:t>
    </dgm:pt>
    <dgm:pt modelId="{DD4398F1-2EA4-4152-AA46-86E1117FD7C7}" type="parTrans" cxnId="{0B2D8989-C074-41C2-9990-43A5226A271C}">
      <dgm:prSet/>
      <dgm:spPr/>
      <dgm:t>
        <a:bodyPr/>
        <a:lstStyle/>
        <a:p>
          <a:endParaRPr lang="ru-RU"/>
        </a:p>
      </dgm:t>
    </dgm:pt>
    <dgm:pt modelId="{B54AA26F-6B83-41E3-B809-CF3400994A78}" type="sibTrans" cxnId="{0B2D8989-C074-41C2-9990-43A5226A271C}">
      <dgm:prSet/>
      <dgm:spPr/>
      <dgm:t>
        <a:bodyPr/>
        <a:lstStyle/>
        <a:p>
          <a:endParaRPr lang="ru-RU"/>
        </a:p>
      </dgm:t>
    </dgm:pt>
    <dgm:pt modelId="{9D0D30F7-06D9-4519-AEB9-6DB3628E9A42}">
      <dgm:prSet phldrT="[Текст]" custT="1"/>
      <dgm:spPr/>
      <dgm:t>
        <a:bodyPr/>
        <a:lstStyle/>
        <a:p>
          <a:r>
            <a:rPr lang="ru-RU" sz="1400" dirty="0" smtClean="0"/>
            <a:t>Владение нормативной  правовой информацией  </a:t>
          </a:r>
          <a:endParaRPr lang="ru-RU" sz="1400" dirty="0"/>
        </a:p>
      </dgm:t>
    </dgm:pt>
    <dgm:pt modelId="{FC93CCE6-2DE8-4848-B1CC-46316311551B}" type="parTrans" cxnId="{19D5F5C7-EFB5-49B3-AE6F-467D14BB90FF}">
      <dgm:prSet/>
      <dgm:spPr/>
      <dgm:t>
        <a:bodyPr/>
        <a:lstStyle/>
        <a:p>
          <a:endParaRPr lang="ru-RU"/>
        </a:p>
      </dgm:t>
    </dgm:pt>
    <dgm:pt modelId="{B67BB0F6-9149-4716-A1D9-19CFD8592C36}" type="sibTrans" cxnId="{19D5F5C7-EFB5-49B3-AE6F-467D14BB90FF}">
      <dgm:prSet/>
      <dgm:spPr/>
      <dgm:t>
        <a:bodyPr/>
        <a:lstStyle/>
        <a:p>
          <a:endParaRPr lang="ru-RU"/>
        </a:p>
      </dgm:t>
    </dgm:pt>
    <dgm:pt modelId="{69233C63-93D5-4A79-8786-A114F39F2E9C}">
      <dgm:prSet phldrT="[Текст]" custT="1"/>
      <dgm:spPr/>
      <dgm:t>
        <a:bodyPr/>
        <a:lstStyle/>
        <a:p>
          <a:r>
            <a:rPr lang="ru-RU" sz="1400" dirty="0" smtClean="0"/>
            <a:t>Определение уполномоченного органа по отбору (п. 3.8 Положения)</a:t>
          </a:r>
          <a:endParaRPr lang="ru-RU" sz="1400" dirty="0"/>
        </a:p>
      </dgm:t>
    </dgm:pt>
    <dgm:pt modelId="{E49E85B9-90E9-44BC-8A4A-7AD323D8E1EB}" type="parTrans" cxnId="{D96C7EE0-ECB0-4B17-A762-A87CC2290A0C}">
      <dgm:prSet/>
      <dgm:spPr/>
      <dgm:t>
        <a:bodyPr/>
        <a:lstStyle/>
        <a:p>
          <a:endParaRPr lang="ru-RU"/>
        </a:p>
      </dgm:t>
    </dgm:pt>
    <dgm:pt modelId="{D5A01DC5-EBFF-4605-B5AA-821A2E783A83}" type="sibTrans" cxnId="{D96C7EE0-ECB0-4B17-A762-A87CC2290A0C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DBC968D-C54B-4D9F-A69C-CFEB382E8E02}" type="pres">
      <dgm:prSet presAssocID="{83C5FF3E-5FF2-43BD-8BBB-9BBE01C0E86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DA5A92-700A-4323-B15D-EB262C851A0B}" type="pres">
      <dgm:prSet presAssocID="{83C5FF3E-5FF2-43BD-8BBB-9BBE01C0E86C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7F823-3EF2-48AA-B950-1CED0EF8699B}" type="pres">
      <dgm:prSet presAssocID="{7A787818-175C-45FC-9B36-3A91BF36EBF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0B9C9-2811-4C55-817A-6F9D2B35DEEC}" type="pres">
      <dgm:prSet presAssocID="{7A787818-175C-45FC-9B36-3A91BF36EBF6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D7501D-8E94-4402-A5F4-A49431A6B1D1}" type="pres">
      <dgm:prSet presAssocID="{A9291B38-94E5-4E35-BDD7-F872D0A35B1F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922381-3953-46DD-8E39-AE9F47D338CA}" type="pres">
      <dgm:prSet presAssocID="{A9291B38-94E5-4E35-BDD7-F872D0A35B1F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9F09898-B736-4211-824E-E8B3E2CEE784}" type="presOf" srcId="{A9291B38-94E5-4E35-BDD7-F872D0A35B1F}" destId="{69D7501D-8E94-4402-A5F4-A49431A6B1D1}" srcOrd="0" destOrd="0" presId="urn:microsoft.com/office/officeart/2005/8/layout/vList2"/>
    <dgm:cxn modelId="{D96C7EE0-ECB0-4B17-A762-A87CC2290A0C}" srcId="{7A787818-175C-45FC-9B36-3A91BF36EBF6}" destId="{69233C63-93D5-4A79-8786-A114F39F2E9C}" srcOrd="1" destOrd="0" parTransId="{E49E85B9-90E9-44BC-8A4A-7AD323D8E1EB}" sibTransId="{D5A01DC5-EBFF-4605-B5AA-821A2E783A83}"/>
    <dgm:cxn modelId="{535841B2-60CB-4824-BCC1-3C2BA981F224}" type="presOf" srcId="{07300DBC-268F-4C29-AF05-7F3AD7FF96AD}" destId="{FEDA5A92-700A-4323-B15D-EB262C851A0B}" srcOrd="0" destOrd="0" presId="urn:microsoft.com/office/officeart/2005/8/layout/vList2"/>
    <dgm:cxn modelId="{BED63C91-E5BB-4562-8433-6492988989DA}" srcId="{B6E487E3-D46A-4417-B7A6-9FE91C097C61}" destId="{83C5FF3E-5FF2-43BD-8BBB-9BBE01C0E86C}" srcOrd="0" destOrd="0" parTransId="{71242645-0254-4C8B-90D5-06CDA468EA62}" sibTransId="{F1A5FCE2-320D-45C7-BB45-15E32D63961C}"/>
    <dgm:cxn modelId="{0B671697-B5FE-412B-A389-838FE9CD13C6}" type="presOf" srcId="{9D0D30F7-06D9-4519-AEB9-6DB3628E9A42}" destId="{FEDA5A92-700A-4323-B15D-EB262C851A0B}" srcOrd="0" destOrd="1" presId="urn:microsoft.com/office/officeart/2005/8/layout/vList2"/>
    <dgm:cxn modelId="{1EBD76DA-F1B7-4DC4-BE0D-10AE05F9757F}" type="presOf" srcId="{31FDA4C3-4EA5-4900-83F2-CC6A15BFC6F1}" destId="{87922381-3953-46DD-8E39-AE9F47D338CA}" srcOrd="0" destOrd="1" presId="urn:microsoft.com/office/officeart/2005/8/layout/vList2"/>
    <dgm:cxn modelId="{23BE55CA-5F98-4ADC-84B2-71017DE7E413}" type="presOf" srcId="{3619DE1C-FEB4-491C-8F7A-9AB7650FBCEF}" destId="{87922381-3953-46DD-8E39-AE9F47D338CA}" srcOrd="0" destOrd="0" presId="urn:microsoft.com/office/officeart/2005/8/layout/vList2"/>
    <dgm:cxn modelId="{B46A7040-7491-4424-96AA-8BE7102593D6}" type="presOf" srcId="{7A787818-175C-45FC-9B36-3A91BF36EBF6}" destId="{7357F823-3EF2-48AA-B950-1CED0EF8699B}" srcOrd="0" destOrd="0" presId="urn:microsoft.com/office/officeart/2005/8/layout/vList2"/>
    <dgm:cxn modelId="{7A5C2D1E-0114-42D6-A29A-85C483563808}" type="presOf" srcId="{B6E487E3-D46A-4417-B7A6-9FE91C097C61}" destId="{53429D14-92DB-4B4E-943E-AF2C58FB59D0}" srcOrd="0" destOrd="0" presId="urn:microsoft.com/office/officeart/2005/8/layout/vList2"/>
    <dgm:cxn modelId="{EB9AB4A5-8DDC-40A2-BC61-F1FF0DCC8EBB}" type="presOf" srcId="{AE650BDC-E8B3-4889-805C-C2DEADC8BD79}" destId="{A000B9C9-2811-4C55-817A-6F9D2B35DEEC}" srcOrd="0" destOrd="0" presId="urn:microsoft.com/office/officeart/2005/8/layout/vList2"/>
    <dgm:cxn modelId="{344C560E-107D-45AB-B216-7360B3492D8E}" srcId="{B6E487E3-D46A-4417-B7A6-9FE91C097C61}" destId="{7A787818-175C-45FC-9B36-3A91BF36EBF6}" srcOrd="1" destOrd="0" parTransId="{A4B8D60A-2173-496D-816B-F4B4027FC2C4}" sibTransId="{8E86EFC2-2711-49C2-8E65-09FC28899287}"/>
    <dgm:cxn modelId="{EBB47A88-4667-43DE-8225-7CD4BE5F6E6F}" srcId="{A9291B38-94E5-4E35-BDD7-F872D0A35B1F}" destId="{3619DE1C-FEB4-491C-8F7A-9AB7650FBCEF}" srcOrd="0" destOrd="0" parTransId="{0E747785-8349-4344-B675-838E84156474}" sibTransId="{4A294269-245C-4AEC-B913-8353AB232A7F}"/>
    <dgm:cxn modelId="{3B7C87F4-59A6-48ED-A5E1-8E62551174F4}" type="presOf" srcId="{69233C63-93D5-4A79-8786-A114F39F2E9C}" destId="{A000B9C9-2811-4C55-817A-6F9D2B35DEEC}" srcOrd="0" destOrd="1" presId="urn:microsoft.com/office/officeart/2005/8/layout/vList2"/>
    <dgm:cxn modelId="{0B2D8989-C074-41C2-9990-43A5226A271C}" srcId="{A9291B38-94E5-4E35-BDD7-F872D0A35B1F}" destId="{31FDA4C3-4EA5-4900-83F2-CC6A15BFC6F1}" srcOrd="1" destOrd="0" parTransId="{DD4398F1-2EA4-4152-AA46-86E1117FD7C7}" sibTransId="{B54AA26F-6B83-41E3-B809-CF3400994A78}"/>
    <dgm:cxn modelId="{F2980E51-19FE-4B37-9FBB-B6DBF7374110}" srcId="{B6E487E3-D46A-4417-B7A6-9FE91C097C61}" destId="{A9291B38-94E5-4E35-BDD7-F872D0A35B1F}" srcOrd="2" destOrd="0" parTransId="{721A1924-617F-4CE0-9F19-0C4FEAB85D64}" sibTransId="{659D5A3F-EF6E-4A06-8D96-F3ADB181267D}"/>
    <dgm:cxn modelId="{19D5F5C7-EFB5-49B3-AE6F-467D14BB90FF}" srcId="{83C5FF3E-5FF2-43BD-8BBB-9BBE01C0E86C}" destId="{9D0D30F7-06D9-4519-AEB9-6DB3628E9A42}" srcOrd="1" destOrd="0" parTransId="{FC93CCE6-2DE8-4848-B1CC-46316311551B}" sibTransId="{B67BB0F6-9149-4716-A1D9-19CFD8592C36}"/>
    <dgm:cxn modelId="{C360396F-B461-49E8-BFA3-332A7B832857}" srcId="{83C5FF3E-5FF2-43BD-8BBB-9BBE01C0E86C}" destId="{07300DBC-268F-4C29-AF05-7F3AD7FF96AD}" srcOrd="0" destOrd="0" parTransId="{3835F35F-150A-4EDE-B053-8E47F358B38C}" sibTransId="{56775A95-9757-43A3-860A-183165B301C5}"/>
    <dgm:cxn modelId="{367AA1BF-1210-4C24-A508-9280F03A6C69}" srcId="{7A787818-175C-45FC-9B36-3A91BF36EBF6}" destId="{AE650BDC-E8B3-4889-805C-C2DEADC8BD79}" srcOrd="0" destOrd="0" parTransId="{33D4E4F2-D0BB-48DA-9A0D-4FF2E688128E}" sibTransId="{64D3ED44-2A7E-4012-8B76-249B04A50508}"/>
    <dgm:cxn modelId="{9FD0EA2C-EABB-4D3F-ACB5-9A58FD06C144}" type="presOf" srcId="{83C5FF3E-5FF2-43BD-8BBB-9BBE01C0E86C}" destId="{ADBC968D-C54B-4D9F-A69C-CFEB382E8E02}" srcOrd="0" destOrd="0" presId="urn:microsoft.com/office/officeart/2005/8/layout/vList2"/>
    <dgm:cxn modelId="{DD2405D4-863D-4B3A-AA3A-3D67EEC26E9F}" type="presParOf" srcId="{53429D14-92DB-4B4E-943E-AF2C58FB59D0}" destId="{ADBC968D-C54B-4D9F-A69C-CFEB382E8E02}" srcOrd="0" destOrd="0" presId="urn:microsoft.com/office/officeart/2005/8/layout/vList2"/>
    <dgm:cxn modelId="{B36C1228-D85A-4757-B262-B345A76757DE}" type="presParOf" srcId="{53429D14-92DB-4B4E-943E-AF2C58FB59D0}" destId="{FEDA5A92-700A-4323-B15D-EB262C851A0B}" srcOrd="1" destOrd="0" presId="urn:microsoft.com/office/officeart/2005/8/layout/vList2"/>
    <dgm:cxn modelId="{5CD70FD7-CA9E-4063-856D-5FEA08F4C537}" type="presParOf" srcId="{53429D14-92DB-4B4E-943E-AF2C58FB59D0}" destId="{7357F823-3EF2-48AA-B950-1CED0EF8699B}" srcOrd="2" destOrd="0" presId="urn:microsoft.com/office/officeart/2005/8/layout/vList2"/>
    <dgm:cxn modelId="{A21CE875-49E0-46E1-AAB8-FEE3093358CB}" type="presParOf" srcId="{53429D14-92DB-4B4E-943E-AF2C58FB59D0}" destId="{A000B9C9-2811-4C55-817A-6F9D2B35DEEC}" srcOrd="3" destOrd="0" presId="urn:microsoft.com/office/officeart/2005/8/layout/vList2"/>
    <dgm:cxn modelId="{EC122405-68B3-4B4C-9EAB-610FB52BEB61}" type="presParOf" srcId="{53429D14-92DB-4B4E-943E-AF2C58FB59D0}" destId="{69D7501D-8E94-4402-A5F4-A49431A6B1D1}" srcOrd="4" destOrd="0" presId="urn:microsoft.com/office/officeart/2005/8/layout/vList2"/>
    <dgm:cxn modelId="{5CB3CE5E-4886-4D04-A926-F25D7F903AF7}" type="presParOf" srcId="{53429D14-92DB-4B4E-943E-AF2C58FB59D0}" destId="{87922381-3953-46DD-8E39-AE9F47D338CA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algn="just"/>
          <a:r>
            <a:rPr lang="ru-RU" sz="1800" b="1" dirty="0" smtClean="0"/>
            <a:t>Сбор информации от претендентов, проведение внутреннего конкурсного отбора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2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9DADE33-8E57-4252-B897-2651DE9D0304}" type="presOf" srcId="{DCBBB76E-1E80-43CE-A3E4-F678CD28F155}" destId="{EA120FCF-C6AA-4B87-877E-5992B78CA861}" srcOrd="0" destOrd="0" presId="urn:microsoft.com/office/officeart/2009/3/layout/IncreasingArrowsProcess"/>
    <dgm:cxn modelId="{B9E685A1-6883-479E-AF27-3E232C2FF0CE}" type="presOf" srcId="{7D3EDE78-357E-4F7E-95AF-93BAD733999C}" destId="{B19A45E8-9114-46B8-ABB1-C5D4B5041A75}" srcOrd="0" destOrd="0" presId="urn:microsoft.com/office/officeart/2009/3/layout/IncreasingArrowsProcess"/>
    <dgm:cxn modelId="{CCA82BEB-5FCA-46B5-A2AB-803495D53E94}" type="presOf" srcId="{10FD7243-DBEA-4098-AB4E-C7B7E1209E8F}" destId="{A7217D00-E232-4637-AD75-679D2F048C33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0D6A40BA-5C14-49F3-A421-051A053A1681}" type="presParOf" srcId="{A7217D00-E232-4637-AD75-679D2F048C33}" destId="{B19A45E8-9114-46B8-ABB1-C5D4B5041A75}" srcOrd="0" destOrd="0" presId="urn:microsoft.com/office/officeart/2009/3/layout/IncreasingArrowsProcess"/>
    <dgm:cxn modelId="{9B7A880F-51B2-4BFB-9B80-D3C5233625EF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3C5FF3E-5FF2-43BD-8BBB-9BBE01C0E86C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400" b="1" dirty="0" smtClean="0"/>
            <a:t>Соблюдение условий участия в конкурсном отборе</a:t>
          </a:r>
          <a:endParaRPr lang="ru-RU" sz="1400" b="1" dirty="0"/>
        </a:p>
      </dgm:t>
    </dgm:pt>
    <dgm:pt modelId="{71242645-0254-4C8B-90D5-06CDA468EA62}" type="parTrans" cxnId="{BED63C91-E5BB-4562-8433-6492988989DA}">
      <dgm:prSet/>
      <dgm:spPr/>
      <dgm:t>
        <a:bodyPr/>
        <a:lstStyle/>
        <a:p>
          <a:endParaRPr lang="ru-RU"/>
        </a:p>
      </dgm:t>
    </dgm:pt>
    <dgm:pt modelId="{F1A5FCE2-320D-45C7-BB45-15E32D63961C}" type="sibTrans" cxnId="{BED63C91-E5BB-4562-8433-6492988989DA}">
      <dgm:prSet/>
      <dgm:spPr/>
      <dgm:t>
        <a:bodyPr/>
        <a:lstStyle/>
        <a:p>
          <a:endParaRPr lang="ru-RU"/>
        </a:p>
      </dgm:t>
    </dgm:pt>
    <dgm:pt modelId="{07300DBC-268F-4C29-AF05-7F3AD7FF96AD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Статус претендента</a:t>
          </a:r>
          <a:endParaRPr lang="ru-RU" sz="1200" dirty="0"/>
        </a:p>
      </dgm:t>
    </dgm:pt>
    <dgm:pt modelId="{3835F35F-150A-4EDE-B053-8E47F358B38C}" type="parTrans" cxnId="{C360396F-B461-49E8-BFA3-332A7B832857}">
      <dgm:prSet/>
      <dgm:spPr/>
      <dgm:t>
        <a:bodyPr/>
        <a:lstStyle/>
        <a:p>
          <a:endParaRPr lang="ru-RU"/>
        </a:p>
      </dgm:t>
    </dgm:pt>
    <dgm:pt modelId="{56775A95-9757-43A3-860A-183165B301C5}" type="sibTrans" cxnId="{C360396F-B461-49E8-BFA3-332A7B832857}">
      <dgm:prSet/>
      <dgm:spPr/>
      <dgm:t>
        <a:bodyPr/>
        <a:lstStyle/>
        <a:p>
          <a:endParaRPr lang="ru-RU"/>
        </a:p>
      </dgm:t>
    </dgm:pt>
    <dgm:pt modelId="{7A787818-175C-45FC-9B36-3A91BF36EBF6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400" b="1" dirty="0" smtClean="0"/>
            <a:t>Оформление заявки претендентами</a:t>
          </a:r>
          <a:endParaRPr lang="ru-RU" sz="1400" b="1" dirty="0"/>
        </a:p>
      </dgm:t>
    </dgm:pt>
    <dgm:pt modelId="{A4B8D60A-2173-496D-816B-F4B4027FC2C4}" type="parTrans" cxnId="{344C560E-107D-45AB-B216-7360B3492D8E}">
      <dgm:prSet/>
      <dgm:spPr/>
      <dgm:t>
        <a:bodyPr/>
        <a:lstStyle/>
        <a:p>
          <a:endParaRPr lang="ru-RU"/>
        </a:p>
      </dgm:t>
    </dgm:pt>
    <dgm:pt modelId="{8E86EFC2-2711-49C2-8E65-09FC28899287}" type="sibTrans" cxnId="{344C560E-107D-45AB-B216-7360B3492D8E}">
      <dgm:prSet/>
      <dgm:spPr/>
      <dgm:t>
        <a:bodyPr/>
        <a:lstStyle/>
        <a:p>
          <a:endParaRPr lang="ru-RU"/>
        </a:p>
      </dgm:t>
    </dgm:pt>
    <dgm:pt modelId="{AE650BDC-E8B3-4889-805C-C2DEADC8BD79}">
      <dgm:prSet phldrT="[Текст]" custT="1"/>
      <dgm:spPr/>
      <dgm:t>
        <a:bodyPr/>
        <a:lstStyle/>
        <a:p>
          <a:r>
            <a:rPr lang="ru-RU" sz="1200" dirty="0" smtClean="0"/>
            <a:t>Описание достижений по установленной форме  без сокращений (приложения к спискам – к формам 1-6</a:t>
          </a:r>
          <a:r>
            <a:rPr lang="ru-RU" sz="1200" dirty="0" smtClean="0"/>
            <a:t>) в полном соответствии с подтверждающим документом с соблюдением последовательности указанных в подстрочникам позиций необходимой информации</a:t>
          </a:r>
          <a:endParaRPr lang="ru-RU" sz="1200" dirty="0"/>
        </a:p>
      </dgm:t>
    </dgm:pt>
    <dgm:pt modelId="{33D4E4F2-D0BB-48DA-9A0D-4FF2E688128E}" type="parTrans" cxnId="{367AA1BF-1210-4C24-A508-9280F03A6C69}">
      <dgm:prSet/>
      <dgm:spPr/>
      <dgm:t>
        <a:bodyPr/>
        <a:lstStyle/>
        <a:p>
          <a:endParaRPr lang="ru-RU"/>
        </a:p>
      </dgm:t>
    </dgm:pt>
    <dgm:pt modelId="{64D3ED44-2A7E-4012-8B76-249B04A50508}" type="sibTrans" cxnId="{367AA1BF-1210-4C24-A508-9280F03A6C69}">
      <dgm:prSet/>
      <dgm:spPr/>
      <dgm:t>
        <a:bodyPr/>
        <a:lstStyle/>
        <a:p>
          <a:endParaRPr lang="ru-RU"/>
        </a:p>
      </dgm:t>
    </dgm:pt>
    <dgm:pt modelId="{A9291B38-94E5-4E35-BDD7-F872D0A35B1F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500" b="1" dirty="0" smtClean="0"/>
            <a:t>Конкурсный отбор </a:t>
          </a:r>
          <a:r>
            <a:rPr lang="ru-RU" sz="1400" b="1" dirty="0" smtClean="0"/>
            <a:t>претендентов</a:t>
          </a:r>
          <a:endParaRPr lang="ru-RU" sz="1500" b="1" dirty="0"/>
        </a:p>
      </dgm:t>
    </dgm:pt>
    <dgm:pt modelId="{721A1924-617F-4CE0-9F19-0C4FEAB85D64}" type="parTrans" cxnId="{F2980E51-19FE-4B37-9FBB-B6DBF7374110}">
      <dgm:prSet/>
      <dgm:spPr/>
      <dgm:t>
        <a:bodyPr/>
        <a:lstStyle/>
        <a:p>
          <a:endParaRPr lang="ru-RU"/>
        </a:p>
      </dgm:t>
    </dgm:pt>
    <dgm:pt modelId="{659D5A3F-EF6E-4A06-8D96-F3ADB181267D}" type="sibTrans" cxnId="{F2980E51-19FE-4B37-9FBB-B6DBF7374110}">
      <dgm:prSet/>
      <dgm:spPr/>
      <dgm:t>
        <a:bodyPr/>
        <a:lstStyle/>
        <a:p>
          <a:endParaRPr lang="ru-RU"/>
        </a:p>
      </dgm:t>
    </dgm:pt>
    <dgm:pt modelId="{3619DE1C-FEB4-491C-8F7A-9AB7650FBCEF}">
      <dgm:prSet phldrT="[Текст]" custT="1"/>
      <dgm:spPr/>
      <dgm:t>
        <a:bodyPr/>
        <a:lstStyle/>
        <a:p>
          <a:r>
            <a:rPr lang="ru-RU" sz="1200" dirty="0" smtClean="0"/>
            <a:t>Анализ представленной информации</a:t>
          </a:r>
          <a:endParaRPr lang="ru-RU" sz="1200" dirty="0"/>
        </a:p>
      </dgm:t>
    </dgm:pt>
    <dgm:pt modelId="{0E747785-8349-4344-B675-838E84156474}" type="parTrans" cxnId="{EBB47A88-4667-43DE-8225-7CD4BE5F6E6F}">
      <dgm:prSet/>
      <dgm:spPr/>
      <dgm:t>
        <a:bodyPr/>
        <a:lstStyle/>
        <a:p>
          <a:endParaRPr lang="ru-RU"/>
        </a:p>
      </dgm:t>
    </dgm:pt>
    <dgm:pt modelId="{4A294269-245C-4AEC-B913-8353AB232A7F}" type="sibTrans" cxnId="{EBB47A88-4667-43DE-8225-7CD4BE5F6E6F}">
      <dgm:prSet/>
      <dgm:spPr/>
      <dgm:t>
        <a:bodyPr/>
        <a:lstStyle/>
        <a:p>
          <a:endParaRPr lang="ru-RU"/>
        </a:p>
      </dgm:t>
    </dgm:pt>
    <dgm:pt modelId="{9D0D30F7-06D9-4519-AEB9-6DB3628E9A42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Наличие у программы гос. аккредитации </a:t>
          </a:r>
          <a:endParaRPr lang="ru-RU" sz="1200" dirty="0"/>
        </a:p>
      </dgm:t>
    </dgm:pt>
    <dgm:pt modelId="{FC93CCE6-2DE8-4848-B1CC-46316311551B}" type="parTrans" cxnId="{19D5F5C7-EFB5-49B3-AE6F-467D14BB90FF}">
      <dgm:prSet/>
      <dgm:spPr/>
      <dgm:t>
        <a:bodyPr/>
        <a:lstStyle/>
        <a:p>
          <a:endParaRPr lang="ru-RU"/>
        </a:p>
      </dgm:t>
    </dgm:pt>
    <dgm:pt modelId="{B67BB0F6-9149-4716-A1D9-19CFD8592C36}" type="sibTrans" cxnId="{19D5F5C7-EFB5-49B3-AE6F-467D14BB90FF}">
      <dgm:prSet/>
      <dgm:spPr/>
      <dgm:t>
        <a:bodyPr/>
        <a:lstStyle/>
        <a:p>
          <a:endParaRPr lang="ru-RU"/>
        </a:p>
      </dgm:t>
    </dgm:pt>
    <dgm:pt modelId="{69233C63-93D5-4A79-8786-A114F39F2E9C}">
      <dgm:prSet phldrT="[Текст]" custT="1"/>
      <dgm:spPr/>
      <dgm:t>
        <a:bodyPr/>
        <a:lstStyle/>
        <a:p>
          <a:r>
            <a:rPr lang="ru-RU" sz="1200" dirty="0" smtClean="0"/>
            <a:t>Документальное подтверждение достижений</a:t>
          </a:r>
          <a:endParaRPr lang="ru-RU" sz="1200" dirty="0"/>
        </a:p>
      </dgm:t>
    </dgm:pt>
    <dgm:pt modelId="{E49E85B9-90E9-44BC-8A4A-7AD323D8E1EB}" type="parTrans" cxnId="{D96C7EE0-ECB0-4B17-A762-A87CC2290A0C}">
      <dgm:prSet/>
      <dgm:spPr/>
      <dgm:t>
        <a:bodyPr/>
        <a:lstStyle/>
        <a:p>
          <a:endParaRPr lang="ru-RU"/>
        </a:p>
      </dgm:t>
    </dgm:pt>
    <dgm:pt modelId="{D5A01DC5-EBFF-4605-B5AA-821A2E783A83}" type="sibTrans" cxnId="{D96C7EE0-ECB0-4B17-A762-A87CC2290A0C}">
      <dgm:prSet/>
      <dgm:spPr/>
      <dgm:t>
        <a:bodyPr/>
        <a:lstStyle/>
        <a:p>
          <a:endParaRPr lang="ru-RU"/>
        </a:p>
      </dgm:t>
    </dgm:pt>
    <dgm:pt modelId="{8419870B-9B6D-4CF4-ADA5-A0E97C31CB9B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Успеваемость в 2016/2017 учебном году</a:t>
          </a:r>
          <a:endParaRPr lang="ru-RU" sz="1200" dirty="0"/>
        </a:p>
      </dgm:t>
    </dgm:pt>
    <dgm:pt modelId="{89F777C6-18C5-4B61-80A4-9EA920E5E829}" type="parTrans" cxnId="{87A74272-2AF6-44E8-8FF0-A33CC48AD214}">
      <dgm:prSet/>
      <dgm:spPr/>
      <dgm:t>
        <a:bodyPr/>
        <a:lstStyle/>
        <a:p>
          <a:endParaRPr lang="ru-RU"/>
        </a:p>
      </dgm:t>
    </dgm:pt>
    <dgm:pt modelId="{A5055CA0-818C-48CB-8382-1ADA1AC76F65}" type="sibTrans" cxnId="{87A74272-2AF6-44E8-8FF0-A33CC48AD214}">
      <dgm:prSet/>
      <dgm:spPr/>
      <dgm:t>
        <a:bodyPr/>
        <a:lstStyle/>
        <a:p>
          <a:endParaRPr lang="ru-RU"/>
        </a:p>
      </dgm:t>
    </dgm:pt>
    <dgm:pt modelId="{165E6BCA-621B-4A71-B498-AF13B0452925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Договор о целевом обучении (ординаторы)</a:t>
          </a:r>
          <a:endParaRPr lang="ru-RU" sz="1200" dirty="0"/>
        </a:p>
      </dgm:t>
    </dgm:pt>
    <dgm:pt modelId="{5FD86A09-2C24-4804-83C8-E503DBE7597D}" type="parTrans" cxnId="{05BF717D-08FD-4616-A543-8123DD8E99CA}">
      <dgm:prSet/>
      <dgm:spPr/>
      <dgm:t>
        <a:bodyPr/>
        <a:lstStyle/>
        <a:p>
          <a:endParaRPr lang="ru-RU"/>
        </a:p>
      </dgm:t>
    </dgm:pt>
    <dgm:pt modelId="{30734BDB-E5BF-46AC-95A3-AD6ED8A66603}" type="sibTrans" cxnId="{05BF717D-08FD-4616-A543-8123DD8E99CA}">
      <dgm:prSet/>
      <dgm:spPr/>
      <dgm:t>
        <a:bodyPr/>
        <a:lstStyle/>
        <a:p>
          <a:endParaRPr lang="ru-RU"/>
        </a:p>
      </dgm:t>
    </dgm:pt>
    <dgm:pt modelId="{2168AC08-4E4C-4935-87F2-229BA40FF82D}">
      <dgm:prSet phldrT="[Текст]" custT="1"/>
      <dgm:spPr/>
      <dgm:t>
        <a:bodyPr/>
        <a:lstStyle/>
        <a:p>
          <a:pPr marL="114300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Наличие программы в перечне приоритетных программ (для двух видов стипендий)</a:t>
          </a:r>
          <a:endParaRPr lang="ru-RU" sz="1200" dirty="0"/>
        </a:p>
      </dgm:t>
    </dgm:pt>
    <dgm:pt modelId="{66899BE6-09C7-459A-AE2D-FCEB9AF1B43D}" type="parTrans" cxnId="{2BD0BEA5-EF17-4E4E-B184-CCF76367136D}">
      <dgm:prSet/>
      <dgm:spPr/>
      <dgm:t>
        <a:bodyPr/>
        <a:lstStyle/>
        <a:p>
          <a:endParaRPr lang="ru-RU"/>
        </a:p>
      </dgm:t>
    </dgm:pt>
    <dgm:pt modelId="{27CA8E7D-D05E-42A0-BEE6-4E9472EDCBD8}" type="sibTrans" cxnId="{2BD0BEA5-EF17-4E4E-B184-CCF76367136D}">
      <dgm:prSet/>
      <dgm:spPr/>
      <dgm:t>
        <a:bodyPr/>
        <a:lstStyle/>
        <a:p>
          <a:endParaRPr lang="ru-RU"/>
        </a:p>
      </dgm:t>
    </dgm:pt>
    <dgm:pt modelId="{02E93537-94B2-4FD5-87AF-2F3BB436DF5A}">
      <dgm:prSet phldrT="[Текст]" custT="1"/>
      <dgm:spPr/>
      <dgm:t>
        <a:bodyPr/>
        <a:lstStyle/>
        <a:p>
          <a:pPr marL="441325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требования к уровню оценок</a:t>
          </a:r>
          <a:endParaRPr lang="ru-RU" sz="1200" dirty="0"/>
        </a:p>
      </dgm:t>
    </dgm:pt>
    <dgm:pt modelId="{2DE21D48-CFD4-4129-8742-DCD85B358B03}" type="parTrans" cxnId="{BB5D7F1F-AA70-43E0-8829-FCD24EF8E220}">
      <dgm:prSet/>
      <dgm:spPr/>
      <dgm:t>
        <a:bodyPr/>
        <a:lstStyle/>
        <a:p>
          <a:endParaRPr lang="ru-RU"/>
        </a:p>
      </dgm:t>
    </dgm:pt>
    <dgm:pt modelId="{8DEF3AF7-D5DF-4FB9-B1F6-679F3E350031}" type="sibTrans" cxnId="{BB5D7F1F-AA70-43E0-8829-FCD24EF8E220}">
      <dgm:prSet/>
      <dgm:spPr/>
      <dgm:t>
        <a:bodyPr/>
        <a:lstStyle/>
        <a:p>
          <a:endParaRPr lang="ru-RU"/>
        </a:p>
      </dgm:t>
    </dgm:pt>
    <dgm:pt modelId="{B3A77F83-496D-44FB-857E-4D0342B02319}">
      <dgm:prSet phldrT="[Текст]" custT="1"/>
      <dgm:spPr/>
      <dgm:t>
        <a:bodyPr/>
        <a:lstStyle/>
        <a:p>
          <a:pPr marL="441325" indent="0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None/>
          </a:pPr>
          <a:r>
            <a:rPr lang="ru-RU" sz="1200" dirty="0" smtClean="0"/>
            <a:t>отсутствие неудовлетворительных оценок</a:t>
          </a:r>
          <a:endParaRPr lang="ru-RU" sz="1200" dirty="0"/>
        </a:p>
      </dgm:t>
    </dgm:pt>
    <dgm:pt modelId="{6EB8A9E1-0C72-4E50-ACF4-7F192AE5F9D5}" type="parTrans" cxnId="{2989385C-0BE3-4645-97E9-AAD69457F793}">
      <dgm:prSet/>
      <dgm:spPr/>
      <dgm:t>
        <a:bodyPr/>
        <a:lstStyle/>
        <a:p>
          <a:endParaRPr lang="ru-RU"/>
        </a:p>
      </dgm:t>
    </dgm:pt>
    <dgm:pt modelId="{818CCF53-33BA-4E28-88AB-339B3CA799C4}" type="sibTrans" cxnId="{2989385C-0BE3-4645-97E9-AAD69457F793}">
      <dgm:prSet/>
      <dgm:spPr/>
      <dgm:t>
        <a:bodyPr/>
        <a:lstStyle/>
        <a:p>
          <a:endParaRPr lang="ru-RU"/>
        </a:p>
      </dgm:t>
    </dgm:pt>
    <dgm:pt modelId="{ED4CAC81-4620-4B64-B23B-B5AD829B36D1}">
      <dgm:prSet phldrT="[Текст]" custT="1"/>
      <dgm:spPr/>
      <dgm:t>
        <a:bodyPr/>
        <a:lstStyle/>
        <a:p>
          <a:r>
            <a:rPr lang="ru-RU" sz="1200" dirty="0" smtClean="0"/>
            <a:t>проверка достижений на соответствие предусмотренным критериям и зачетным периодам</a:t>
          </a:r>
          <a:endParaRPr lang="ru-RU" sz="1200" dirty="0"/>
        </a:p>
      </dgm:t>
    </dgm:pt>
    <dgm:pt modelId="{E44D1B61-EBC8-4CE2-856E-F24696AECE6D}" type="parTrans" cxnId="{F50E15A7-C9BD-495F-B92D-D70F7EF0CE1C}">
      <dgm:prSet/>
      <dgm:spPr/>
      <dgm:t>
        <a:bodyPr/>
        <a:lstStyle/>
        <a:p>
          <a:endParaRPr lang="ru-RU"/>
        </a:p>
      </dgm:t>
    </dgm:pt>
    <dgm:pt modelId="{6BDB0380-F19A-466C-8B69-6E7EC467D11E}" type="sibTrans" cxnId="{F50E15A7-C9BD-495F-B92D-D70F7EF0CE1C}">
      <dgm:prSet/>
      <dgm:spPr/>
      <dgm:t>
        <a:bodyPr/>
        <a:lstStyle/>
        <a:p>
          <a:endParaRPr lang="ru-RU"/>
        </a:p>
      </dgm:t>
    </dgm:pt>
    <dgm:pt modelId="{72576984-91DD-4F6C-98DB-C6C2E87584F3}">
      <dgm:prSet phldrT="[Текст]" custT="1"/>
      <dgm:spPr/>
      <dgm:t>
        <a:bodyPr/>
        <a:lstStyle/>
        <a:p>
          <a:r>
            <a:rPr lang="ru-RU" sz="1200" dirty="0" smtClean="0"/>
            <a:t>Ранжирование претендентов по правилам Положения</a:t>
          </a:r>
          <a:endParaRPr lang="ru-RU" sz="1200" dirty="0"/>
        </a:p>
      </dgm:t>
    </dgm:pt>
    <dgm:pt modelId="{E222CFAB-62E1-4DAA-9E96-A2CCD9005175}" type="parTrans" cxnId="{6113EEAC-CBB5-4C83-AFCF-F5A94F5AB5FB}">
      <dgm:prSet/>
      <dgm:spPr/>
      <dgm:t>
        <a:bodyPr/>
        <a:lstStyle/>
        <a:p>
          <a:endParaRPr lang="ru-RU"/>
        </a:p>
      </dgm:t>
    </dgm:pt>
    <dgm:pt modelId="{6D1CE9F5-21F9-44CD-A027-EC3D0082323F}" type="sibTrans" cxnId="{6113EEAC-CBB5-4C83-AFCF-F5A94F5AB5FB}">
      <dgm:prSet/>
      <dgm:spPr/>
      <dgm:t>
        <a:bodyPr/>
        <a:lstStyle/>
        <a:p>
          <a:endParaRPr lang="ru-RU"/>
        </a:p>
      </dgm:t>
    </dgm:pt>
    <dgm:pt modelId="{581CF164-180B-403A-AE33-B1565D99BA33}">
      <dgm:prSet phldrT="[Текст]" custT="1"/>
      <dgm:spPr/>
      <dgm:t>
        <a:bodyPr/>
        <a:lstStyle/>
        <a:p>
          <a:r>
            <a:rPr lang="ru-RU" sz="1200" dirty="0" smtClean="0"/>
            <a:t>Формирование списка с учетом требований к количеству и конкурентоспособности претендентов</a:t>
          </a:r>
          <a:endParaRPr lang="ru-RU" sz="1200" dirty="0"/>
        </a:p>
      </dgm:t>
    </dgm:pt>
    <dgm:pt modelId="{72F31C59-6DCC-4F1D-ADFC-34823C434FF3}" type="parTrans" cxnId="{785BC6B3-3768-4C91-9865-94A17E24E348}">
      <dgm:prSet/>
      <dgm:spPr/>
      <dgm:t>
        <a:bodyPr/>
        <a:lstStyle/>
        <a:p>
          <a:endParaRPr lang="ru-RU"/>
        </a:p>
      </dgm:t>
    </dgm:pt>
    <dgm:pt modelId="{C5B8EDD5-AEBE-41AF-A0AF-5DA4AE4A7A1B}" type="sibTrans" cxnId="{785BC6B3-3768-4C91-9865-94A17E24E348}">
      <dgm:prSet/>
      <dgm:spPr/>
      <dgm:t>
        <a:bodyPr/>
        <a:lstStyle/>
        <a:p>
          <a:endParaRPr lang="ru-RU"/>
        </a:p>
      </dgm:t>
    </dgm:pt>
    <dgm:pt modelId="{1075F027-8365-4903-AF8B-865E78171082}">
      <dgm:prSet phldrT="[Текст]" custT="1"/>
      <dgm:spPr/>
      <dgm:t>
        <a:bodyPr/>
        <a:lstStyle/>
        <a:p>
          <a:r>
            <a:rPr lang="ru-RU" sz="1200" dirty="0" smtClean="0"/>
            <a:t>Утверждение списка претендентов уполномоченным органом</a:t>
          </a:r>
          <a:endParaRPr lang="ru-RU" sz="1200" dirty="0"/>
        </a:p>
      </dgm:t>
    </dgm:pt>
    <dgm:pt modelId="{5FAB8CB4-204C-4DFC-A3D0-9C05B3384F2E}" type="parTrans" cxnId="{50AC1832-1EEF-4466-8ABB-7F3BD94F752A}">
      <dgm:prSet/>
      <dgm:spPr/>
      <dgm:t>
        <a:bodyPr/>
        <a:lstStyle/>
        <a:p>
          <a:endParaRPr lang="ru-RU"/>
        </a:p>
      </dgm:t>
    </dgm:pt>
    <dgm:pt modelId="{B763D5B6-F7B5-44D8-95CE-33FF354C0C94}" type="sibTrans" cxnId="{50AC1832-1EEF-4466-8ABB-7F3BD94F752A}">
      <dgm:prSet/>
      <dgm:spPr/>
      <dgm:t>
        <a:bodyPr/>
        <a:lstStyle/>
        <a:p>
          <a:endParaRPr lang="ru-RU"/>
        </a:p>
      </dgm:t>
    </dgm:pt>
    <dgm:pt modelId="{827CC27A-0185-4865-A565-EF55D2605A36}">
      <dgm:prSet phldrT="[Текст]" custT="1"/>
      <dgm:spPr/>
      <dgm:t>
        <a:bodyPr/>
        <a:lstStyle/>
        <a:p>
          <a:r>
            <a:rPr lang="ru-RU" sz="1200" dirty="0" smtClean="0"/>
            <a:t>проверка соблюдения условий участия  и требований п.3.5 Положения</a:t>
          </a:r>
          <a:endParaRPr lang="ru-RU" sz="1200" dirty="0"/>
        </a:p>
      </dgm:t>
    </dgm:pt>
    <dgm:pt modelId="{55801313-8672-42F8-8339-23140B6920B6}" type="parTrans" cxnId="{6785E2A7-63A4-47DC-B5EA-7EDBE87BC411}">
      <dgm:prSet/>
      <dgm:spPr/>
      <dgm:t>
        <a:bodyPr/>
        <a:lstStyle/>
        <a:p>
          <a:endParaRPr lang="ru-RU"/>
        </a:p>
      </dgm:t>
    </dgm:pt>
    <dgm:pt modelId="{976F92D8-3A26-4550-B05A-104EA9110227}" type="sibTrans" cxnId="{6785E2A7-63A4-47DC-B5EA-7EDBE87BC411}">
      <dgm:prSet/>
      <dgm:spPr/>
      <dgm:t>
        <a:bodyPr/>
        <a:lstStyle/>
        <a:p>
          <a:endParaRPr lang="ru-RU"/>
        </a:p>
      </dgm:t>
    </dgm:pt>
    <dgm:pt modelId="{7CC13B10-E5CA-46E2-A142-C1D7D68478EA}">
      <dgm:prSet phldrT="[Текст]" custT="1"/>
      <dgm:spPr/>
      <dgm:t>
        <a:bodyPr/>
        <a:lstStyle/>
        <a:p>
          <a:pPr marL="447675" indent="0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dirty="0" smtClean="0"/>
            <a:t>обучение </a:t>
          </a:r>
          <a:r>
            <a:rPr lang="ru-RU" sz="1200" dirty="0" smtClean="0"/>
            <a:t>по программе высшего образования данного уровня впервые по очной форме</a:t>
          </a:r>
          <a:endParaRPr lang="ru-RU" sz="1200" dirty="0"/>
        </a:p>
      </dgm:t>
    </dgm:pt>
    <dgm:pt modelId="{388CFF2C-3B51-4E28-A4EC-ECFBCC4A4F3F}" type="parTrans" cxnId="{3276AB4A-95E4-4BD9-8D8B-E13846D9EC24}">
      <dgm:prSet/>
      <dgm:spPr/>
      <dgm:t>
        <a:bodyPr/>
        <a:lstStyle/>
        <a:p>
          <a:endParaRPr lang="ru-RU"/>
        </a:p>
      </dgm:t>
    </dgm:pt>
    <dgm:pt modelId="{842AAE3E-F7FD-4003-B82F-F1F7E6FA6603}" type="sibTrans" cxnId="{3276AB4A-95E4-4BD9-8D8B-E13846D9EC24}">
      <dgm:prSet/>
      <dgm:spPr/>
      <dgm:t>
        <a:bodyPr/>
        <a:lstStyle/>
        <a:p>
          <a:endParaRPr lang="ru-RU"/>
        </a:p>
      </dgm:t>
    </dgm:pt>
    <dgm:pt modelId="{33A3D57D-B320-47DE-A264-C833F740F346}">
      <dgm:prSet phldrT="[Текст]" custT="1"/>
      <dgm:spPr/>
      <dgm:t>
        <a:bodyPr/>
        <a:lstStyle/>
        <a:p>
          <a:pPr marL="447675" indent="0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dirty="0" smtClean="0"/>
            <a:t>при обучении по двум и более программам : представительство от одной образовательной организации/ более высокий уровень / курс</a:t>
          </a:r>
          <a:endParaRPr lang="ru-RU" sz="1200" dirty="0"/>
        </a:p>
      </dgm:t>
    </dgm:pt>
    <dgm:pt modelId="{F4694A68-9CB7-4335-8D64-7850273143D7}" type="parTrans" cxnId="{BED6D52C-2DC4-4BF3-A437-D42A75220781}">
      <dgm:prSet/>
      <dgm:spPr/>
      <dgm:t>
        <a:bodyPr/>
        <a:lstStyle/>
        <a:p>
          <a:endParaRPr lang="ru-RU"/>
        </a:p>
      </dgm:t>
    </dgm:pt>
    <dgm:pt modelId="{3542B6A3-7696-45F1-8097-383688A8E5BC}" type="sibTrans" cxnId="{BED6D52C-2DC4-4BF3-A437-D42A75220781}">
      <dgm:prSet/>
      <dgm:spPr/>
      <dgm:t>
        <a:bodyPr/>
        <a:lstStyle/>
        <a:p>
          <a:endParaRPr lang="ru-RU"/>
        </a:p>
      </dgm:t>
    </dgm:pt>
    <dgm:pt modelId="{8C27C0CD-931F-4B51-9943-0816EF2EEFBC}">
      <dgm:prSet phldrT="[Текст]" custT="1"/>
      <dgm:spPr/>
      <dgm:t>
        <a:bodyPr/>
        <a:lstStyle/>
        <a:p>
          <a:pPr marL="447675" indent="0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200" dirty="0" smtClean="0"/>
            <a:t>соответствие  </a:t>
          </a:r>
          <a:r>
            <a:rPr lang="ru-RU" sz="1200" dirty="0" smtClean="0"/>
            <a:t>категории «молодежь»</a:t>
          </a:r>
          <a:endParaRPr lang="ru-RU" sz="1200" dirty="0"/>
        </a:p>
      </dgm:t>
    </dgm:pt>
    <dgm:pt modelId="{E14F399E-4CA7-49B4-9562-A7A6F90D437D}" type="parTrans" cxnId="{998B4340-F320-4CF0-941E-733FBDD1F622}">
      <dgm:prSet/>
      <dgm:spPr/>
      <dgm:t>
        <a:bodyPr/>
        <a:lstStyle/>
        <a:p>
          <a:endParaRPr lang="ru-RU"/>
        </a:p>
      </dgm:t>
    </dgm:pt>
    <dgm:pt modelId="{77F1625F-9C5E-4CDB-8769-675FE25F8929}" type="sibTrans" cxnId="{998B4340-F320-4CF0-941E-733FBDD1F622}">
      <dgm:prSet/>
      <dgm:spPr/>
      <dgm:t>
        <a:bodyPr/>
        <a:lstStyle/>
        <a:p>
          <a:endParaRPr lang="ru-RU"/>
        </a:p>
      </dgm:t>
    </dgm:pt>
    <dgm:pt modelId="{89A7D839-D632-4553-A50D-DE2BA3229545}">
      <dgm:prSet phldrT="[Текст]" custT="1"/>
      <dgm:spPr/>
      <dgm:t>
        <a:bodyPr/>
        <a:lstStyle/>
        <a:p>
          <a:r>
            <a:rPr lang="ru-RU" sz="1200" dirty="0" smtClean="0"/>
            <a:t>Личная подпись претендента и дата представления в организацию</a:t>
          </a:r>
          <a:endParaRPr lang="ru-RU" sz="1200" dirty="0"/>
        </a:p>
      </dgm:t>
    </dgm:pt>
    <dgm:pt modelId="{7DBF00A6-4D39-4DCE-8220-888A07A98C6B}" type="parTrans" cxnId="{36DA2062-6FE4-4D34-AE93-3719ECF79BAC}">
      <dgm:prSet/>
      <dgm:spPr/>
      <dgm:t>
        <a:bodyPr/>
        <a:lstStyle/>
        <a:p>
          <a:endParaRPr lang="ru-RU"/>
        </a:p>
      </dgm:t>
    </dgm:pt>
    <dgm:pt modelId="{5B57AEF9-BC12-4966-AB93-AB54A5A06E97}" type="sibTrans" cxnId="{36DA2062-6FE4-4D34-AE93-3719ECF79BAC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DBC968D-C54B-4D9F-A69C-CFEB382E8E02}" type="pres">
      <dgm:prSet presAssocID="{83C5FF3E-5FF2-43BD-8BBB-9BBE01C0E86C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DA5A92-700A-4323-B15D-EB262C851A0B}" type="pres">
      <dgm:prSet presAssocID="{83C5FF3E-5FF2-43BD-8BBB-9BBE01C0E86C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7F823-3EF2-48AA-B950-1CED0EF8699B}" type="pres">
      <dgm:prSet presAssocID="{7A787818-175C-45FC-9B36-3A91BF36EBF6}" presName="parentText" presStyleLbl="node1" presStyleIdx="1" presStyleCnt="3" custLinFactNeighborX="239" custLinFactNeighborY="-26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00B9C9-2811-4C55-817A-6F9D2B35DEEC}" type="pres">
      <dgm:prSet presAssocID="{7A787818-175C-45FC-9B36-3A91BF36EBF6}" presName="childText" presStyleLbl="revTx" presStyleIdx="1" presStyleCnt="3" custLinFactNeighborY="-68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D7501D-8E94-4402-A5F4-A49431A6B1D1}" type="pres">
      <dgm:prSet presAssocID="{A9291B38-94E5-4E35-BDD7-F872D0A35B1F}" presName="parentText" presStyleLbl="node1" presStyleIdx="2" presStyleCnt="3" custLinFactNeighborY="-63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922381-3953-46DD-8E39-AE9F47D338CA}" type="pres">
      <dgm:prSet presAssocID="{A9291B38-94E5-4E35-BDD7-F872D0A35B1F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B5D7F1F-AA70-43E0-8829-FCD24EF8E220}" srcId="{8419870B-9B6D-4CF4-ADA5-A0E97C31CB9B}" destId="{02E93537-94B2-4FD5-87AF-2F3BB436DF5A}" srcOrd="0" destOrd="0" parTransId="{2DE21D48-CFD4-4129-8742-DCD85B358B03}" sibTransId="{8DEF3AF7-D5DF-4FB9-B1F6-679F3E350031}"/>
    <dgm:cxn modelId="{FE604887-6612-4289-94E8-74210B20A663}" type="presOf" srcId="{7A787818-175C-45FC-9B36-3A91BF36EBF6}" destId="{7357F823-3EF2-48AA-B950-1CED0EF8699B}" srcOrd="0" destOrd="0" presId="urn:microsoft.com/office/officeart/2005/8/layout/vList2"/>
    <dgm:cxn modelId="{36DA2062-6FE4-4D34-AE93-3719ECF79BAC}" srcId="{7A787818-175C-45FC-9B36-3A91BF36EBF6}" destId="{89A7D839-D632-4553-A50D-DE2BA3229545}" srcOrd="2" destOrd="0" parTransId="{7DBF00A6-4D39-4DCE-8220-888A07A98C6B}" sibTransId="{5B57AEF9-BC12-4966-AB93-AB54A5A06E97}"/>
    <dgm:cxn modelId="{FAE4A20C-CA9F-43F7-AD8D-EF5B4932364F}" type="presOf" srcId="{8C27C0CD-931F-4B51-9943-0816EF2EEFBC}" destId="{FEDA5A92-700A-4323-B15D-EB262C851A0B}" srcOrd="0" destOrd="3" presId="urn:microsoft.com/office/officeart/2005/8/layout/vList2"/>
    <dgm:cxn modelId="{0AF35D63-94A2-4C37-80B7-C41937F39BC9}" type="presOf" srcId="{A9291B38-94E5-4E35-BDD7-F872D0A35B1F}" destId="{69D7501D-8E94-4402-A5F4-A49431A6B1D1}" srcOrd="0" destOrd="0" presId="urn:microsoft.com/office/officeart/2005/8/layout/vList2"/>
    <dgm:cxn modelId="{21038D35-6751-4B1E-99A6-C57AA8F56713}" type="presOf" srcId="{1075F027-8365-4903-AF8B-865E78171082}" destId="{87922381-3953-46DD-8E39-AE9F47D338CA}" srcOrd="0" destOrd="5" presId="urn:microsoft.com/office/officeart/2005/8/layout/vList2"/>
    <dgm:cxn modelId="{3770EACD-19D6-4E79-A5DF-DC377928EC1A}" type="presOf" srcId="{ED4CAC81-4620-4B64-B23B-B5AD829B36D1}" destId="{87922381-3953-46DD-8E39-AE9F47D338CA}" srcOrd="0" destOrd="2" presId="urn:microsoft.com/office/officeart/2005/8/layout/vList2"/>
    <dgm:cxn modelId="{D90ED2E6-519B-4E03-A89E-3C245F667176}" type="presOf" srcId="{827CC27A-0185-4865-A565-EF55D2605A36}" destId="{87922381-3953-46DD-8E39-AE9F47D338CA}" srcOrd="0" destOrd="1" presId="urn:microsoft.com/office/officeart/2005/8/layout/vList2"/>
    <dgm:cxn modelId="{D96C7EE0-ECB0-4B17-A762-A87CC2290A0C}" srcId="{7A787818-175C-45FC-9B36-3A91BF36EBF6}" destId="{69233C63-93D5-4A79-8786-A114F39F2E9C}" srcOrd="1" destOrd="0" parTransId="{E49E85B9-90E9-44BC-8A4A-7AD323D8E1EB}" sibTransId="{D5A01DC5-EBFF-4605-B5AA-821A2E783A83}"/>
    <dgm:cxn modelId="{785BC6B3-3768-4C91-9865-94A17E24E348}" srcId="{A9291B38-94E5-4E35-BDD7-F872D0A35B1F}" destId="{581CF164-180B-403A-AE33-B1565D99BA33}" srcOrd="2" destOrd="0" parTransId="{72F31C59-6DCC-4F1D-ADFC-34823C434FF3}" sibTransId="{C5B8EDD5-AEBE-41AF-A0AF-5DA4AE4A7A1B}"/>
    <dgm:cxn modelId="{2BD0BEA5-EF17-4E4E-B184-CCF76367136D}" srcId="{83C5FF3E-5FF2-43BD-8BBB-9BBE01C0E86C}" destId="{2168AC08-4E4C-4935-87F2-229BA40FF82D}" srcOrd="4" destOrd="0" parTransId="{66899BE6-09C7-459A-AE2D-FCEB9AF1B43D}" sibTransId="{27CA8E7D-D05E-42A0-BEE6-4E9472EDCBD8}"/>
    <dgm:cxn modelId="{4B6FD3B7-D6AF-4C9F-8166-6F2BEC3BEFB3}" type="presOf" srcId="{165E6BCA-621B-4A71-B498-AF13B0452925}" destId="{FEDA5A92-700A-4323-B15D-EB262C851A0B}" srcOrd="0" destOrd="8" presId="urn:microsoft.com/office/officeart/2005/8/layout/vList2"/>
    <dgm:cxn modelId="{998B4340-F320-4CF0-941E-733FBDD1F622}" srcId="{07300DBC-268F-4C29-AF05-7F3AD7FF96AD}" destId="{8C27C0CD-931F-4B51-9943-0816EF2EEFBC}" srcOrd="2" destOrd="0" parTransId="{E14F399E-4CA7-49B4-9562-A7A6F90D437D}" sibTransId="{77F1625F-9C5E-4CDB-8769-675FE25F8929}"/>
    <dgm:cxn modelId="{05BF717D-08FD-4616-A543-8123DD8E99CA}" srcId="{83C5FF3E-5FF2-43BD-8BBB-9BBE01C0E86C}" destId="{165E6BCA-621B-4A71-B498-AF13B0452925}" srcOrd="3" destOrd="0" parTransId="{5FD86A09-2C24-4804-83C8-E503DBE7597D}" sibTransId="{30734BDB-E5BF-46AC-95A3-AD6ED8A66603}"/>
    <dgm:cxn modelId="{606FD6BB-39DC-4491-BCFA-27C08ADFDB5E}" type="presOf" srcId="{02E93537-94B2-4FD5-87AF-2F3BB436DF5A}" destId="{FEDA5A92-700A-4323-B15D-EB262C851A0B}" srcOrd="0" destOrd="6" presId="urn:microsoft.com/office/officeart/2005/8/layout/vList2"/>
    <dgm:cxn modelId="{031717D6-9D61-49E9-AF9A-CB3B7A54868D}" type="presOf" srcId="{2168AC08-4E4C-4935-87F2-229BA40FF82D}" destId="{FEDA5A92-700A-4323-B15D-EB262C851A0B}" srcOrd="0" destOrd="9" presId="urn:microsoft.com/office/officeart/2005/8/layout/vList2"/>
    <dgm:cxn modelId="{EBB47A88-4667-43DE-8225-7CD4BE5F6E6F}" srcId="{A9291B38-94E5-4E35-BDD7-F872D0A35B1F}" destId="{3619DE1C-FEB4-491C-8F7A-9AB7650FBCEF}" srcOrd="0" destOrd="0" parTransId="{0E747785-8349-4344-B675-838E84156474}" sibTransId="{4A294269-245C-4AEC-B913-8353AB232A7F}"/>
    <dgm:cxn modelId="{3276AB4A-95E4-4BD9-8D8B-E13846D9EC24}" srcId="{07300DBC-268F-4C29-AF05-7F3AD7FF96AD}" destId="{7CC13B10-E5CA-46E2-A142-C1D7D68478EA}" srcOrd="0" destOrd="0" parTransId="{388CFF2C-3B51-4E28-A4EC-ECFBCC4A4F3F}" sibTransId="{842AAE3E-F7FD-4003-B82F-F1F7E6FA6603}"/>
    <dgm:cxn modelId="{C360396F-B461-49E8-BFA3-332A7B832857}" srcId="{83C5FF3E-5FF2-43BD-8BBB-9BBE01C0E86C}" destId="{07300DBC-268F-4C29-AF05-7F3AD7FF96AD}" srcOrd="0" destOrd="0" parTransId="{3835F35F-150A-4EDE-B053-8E47F358B38C}" sibTransId="{56775A95-9757-43A3-860A-183165B301C5}"/>
    <dgm:cxn modelId="{ED64FBB9-146D-4DE8-9A4A-2B655AB4E338}" type="presOf" srcId="{07300DBC-268F-4C29-AF05-7F3AD7FF96AD}" destId="{FEDA5A92-700A-4323-B15D-EB262C851A0B}" srcOrd="0" destOrd="0" presId="urn:microsoft.com/office/officeart/2005/8/layout/vList2"/>
    <dgm:cxn modelId="{367AA1BF-1210-4C24-A508-9280F03A6C69}" srcId="{7A787818-175C-45FC-9B36-3A91BF36EBF6}" destId="{AE650BDC-E8B3-4889-805C-C2DEADC8BD79}" srcOrd="0" destOrd="0" parTransId="{33D4E4F2-D0BB-48DA-9A0D-4FF2E688128E}" sibTransId="{64D3ED44-2A7E-4012-8B76-249B04A50508}"/>
    <dgm:cxn modelId="{B59BCCFA-18A6-47B3-8AF7-69553EAC41B3}" type="presOf" srcId="{AE650BDC-E8B3-4889-805C-C2DEADC8BD79}" destId="{A000B9C9-2811-4C55-817A-6F9D2B35DEEC}" srcOrd="0" destOrd="0" presId="urn:microsoft.com/office/officeart/2005/8/layout/vList2"/>
    <dgm:cxn modelId="{43B92C15-4DAE-41FB-A3CC-D61374E489E5}" type="presOf" srcId="{8419870B-9B6D-4CF4-ADA5-A0E97C31CB9B}" destId="{FEDA5A92-700A-4323-B15D-EB262C851A0B}" srcOrd="0" destOrd="5" presId="urn:microsoft.com/office/officeart/2005/8/layout/vList2"/>
    <dgm:cxn modelId="{2989385C-0BE3-4645-97E9-AAD69457F793}" srcId="{8419870B-9B6D-4CF4-ADA5-A0E97C31CB9B}" destId="{B3A77F83-496D-44FB-857E-4D0342B02319}" srcOrd="1" destOrd="0" parTransId="{6EB8A9E1-0C72-4E50-ACF4-7F192AE5F9D5}" sibTransId="{818CCF53-33BA-4E28-88AB-339B3CA799C4}"/>
    <dgm:cxn modelId="{F5BA5DE2-1564-4DEB-B2CF-245F019F6A21}" type="presOf" srcId="{69233C63-93D5-4A79-8786-A114F39F2E9C}" destId="{A000B9C9-2811-4C55-817A-6F9D2B35DEEC}" srcOrd="0" destOrd="1" presId="urn:microsoft.com/office/officeart/2005/8/layout/vList2"/>
    <dgm:cxn modelId="{A4DF2B0A-5F43-46CF-864B-A4791360D52E}" type="presOf" srcId="{7CC13B10-E5CA-46E2-A142-C1D7D68478EA}" destId="{FEDA5A92-700A-4323-B15D-EB262C851A0B}" srcOrd="0" destOrd="1" presId="urn:microsoft.com/office/officeart/2005/8/layout/vList2"/>
    <dgm:cxn modelId="{19D5F5C7-EFB5-49B3-AE6F-467D14BB90FF}" srcId="{83C5FF3E-5FF2-43BD-8BBB-9BBE01C0E86C}" destId="{9D0D30F7-06D9-4519-AEB9-6DB3628E9A42}" srcOrd="1" destOrd="0" parTransId="{FC93CCE6-2DE8-4848-B1CC-46316311551B}" sibTransId="{B67BB0F6-9149-4716-A1D9-19CFD8592C36}"/>
    <dgm:cxn modelId="{6113EEAC-CBB5-4C83-AFCF-F5A94F5AB5FB}" srcId="{A9291B38-94E5-4E35-BDD7-F872D0A35B1F}" destId="{72576984-91DD-4F6C-98DB-C6C2E87584F3}" srcOrd="1" destOrd="0" parTransId="{E222CFAB-62E1-4DAA-9E96-A2CCD9005175}" sibTransId="{6D1CE9F5-21F9-44CD-A027-EC3D0082323F}"/>
    <dgm:cxn modelId="{BED63C91-E5BB-4562-8433-6492988989DA}" srcId="{B6E487E3-D46A-4417-B7A6-9FE91C097C61}" destId="{83C5FF3E-5FF2-43BD-8BBB-9BBE01C0E86C}" srcOrd="0" destOrd="0" parTransId="{71242645-0254-4C8B-90D5-06CDA468EA62}" sibTransId="{F1A5FCE2-320D-45C7-BB45-15E32D63961C}"/>
    <dgm:cxn modelId="{10A151C1-5BBC-47FC-B274-5AFC544EB379}" type="presOf" srcId="{83C5FF3E-5FF2-43BD-8BBB-9BBE01C0E86C}" destId="{ADBC968D-C54B-4D9F-A69C-CFEB382E8E02}" srcOrd="0" destOrd="0" presId="urn:microsoft.com/office/officeart/2005/8/layout/vList2"/>
    <dgm:cxn modelId="{B496168D-ACA6-492C-B80B-40115B289667}" type="presOf" srcId="{B6E487E3-D46A-4417-B7A6-9FE91C097C61}" destId="{53429D14-92DB-4B4E-943E-AF2C58FB59D0}" srcOrd="0" destOrd="0" presId="urn:microsoft.com/office/officeart/2005/8/layout/vList2"/>
    <dgm:cxn modelId="{331FCE8C-5157-446D-B5C8-AF6EE2677DC0}" type="presOf" srcId="{89A7D839-D632-4553-A50D-DE2BA3229545}" destId="{A000B9C9-2811-4C55-817A-6F9D2B35DEEC}" srcOrd="0" destOrd="2" presId="urn:microsoft.com/office/officeart/2005/8/layout/vList2"/>
    <dgm:cxn modelId="{F2980E51-19FE-4B37-9FBB-B6DBF7374110}" srcId="{B6E487E3-D46A-4417-B7A6-9FE91C097C61}" destId="{A9291B38-94E5-4E35-BDD7-F872D0A35B1F}" srcOrd="2" destOrd="0" parTransId="{721A1924-617F-4CE0-9F19-0C4FEAB85D64}" sibTransId="{659D5A3F-EF6E-4A06-8D96-F3ADB181267D}"/>
    <dgm:cxn modelId="{D1B3E460-7380-4B7A-8B7F-0CCA73ED7353}" type="presOf" srcId="{581CF164-180B-403A-AE33-B1565D99BA33}" destId="{87922381-3953-46DD-8E39-AE9F47D338CA}" srcOrd="0" destOrd="4" presId="urn:microsoft.com/office/officeart/2005/8/layout/vList2"/>
    <dgm:cxn modelId="{62014F3B-93BB-4C79-8FB1-9A52C566ABCF}" type="presOf" srcId="{9D0D30F7-06D9-4519-AEB9-6DB3628E9A42}" destId="{FEDA5A92-700A-4323-B15D-EB262C851A0B}" srcOrd="0" destOrd="4" presId="urn:microsoft.com/office/officeart/2005/8/layout/vList2"/>
    <dgm:cxn modelId="{F50E15A7-C9BD-495F-B92D-D70F7EF0CE1C}" srcId="{3619DE1C-FEB4-491C-8F7A-9AB7650FBCEF}" destId="{ED4CAC81-4620-4B64-B23B-B5AD829B36D1}" srcOrd="1" destOrd="0" parTransId="{E44D1B61-EBC8-4CE2-856E-F24696AECE6D}" sibTransId="{6BDB0380-F19A-466C-8B69-6E7EC467D11E}"/>
    <dgm:cxn modelId="{6C8EFBB6-8399-4870-BA1D-9F742810FB57}" type="presOf" srcId="{B3A77F83-496D-44FB-857E-4D0342B02319}" destId="{FEDA5A92-700A-4323-B15D-EB262C851A0B}" srcOrd="0" destOrd="7" presId="urn:microsoft.com/office/officeart/2005/8/layout/vList2"/>
    <dgm:cxn modelId="{84059145-398D-4AD2-9B34-EE2BFB7C9871}" type="presOf" srcId="{72576984-91DD-4F6C-98DB-C6C2E87584F3}" destId="{87922381-3953-46DD-8E39-AE9F47D338CA}" srcOrd="0" destOrd="3" presId="urn:microsoft.com/office/officeart/2005/8/layout/vList2"/>
    <dgm:cxn modelId="{50AC1832-1EEF-4466-8ABB-7F3BD94F752A}" srcId="{A9291B38-94E5-4E35-BDD7-F872D0A35B1F}" destId="{1075F027-8365-4903-AF8B-865E78171082}" srcOrd="3" destOrd="0" parTransId="{5FAB8CB4-204C-4DFC-A3D0-9C05B3384F2E}" sibTransId="{B763D5B6-F7B5-44D8-95CE-33FF354C0C94}"/>
    <dgm:cxn modelId="{3F7BD249-A6A5-4455-B743-195D7FAA7B10}" type="presOf" srcId="{3619DE1C-FEB4-491C-8F7A-9AB7650FBCEF}" destId="{87922381-3953-46DD-8E39-AE9F47D338CA}" srcOrd="0" destOrd="0" presId="urn:microsoft.com/office/officeart/2005/8/layout/vList2"/>
    <dgm:cxn modelId="{BED6D52C-2DC4-4BF3-A437-D42A75220781}" srcId="{07300DBC-268F-4C29-AF05-7F3AD7FF96AD}" destId="{33A3D57D-B320-47DE-A264-C833F740F346}" srcOrd="1" destOrd="0" parTransId="{F4694A68-9CB7-4335-8D64-7850273143D7}" sibTransId="{3542B6A3-7696-45F1-8097-383688A8E5BC}"/>
    <dgm:cxn modelId="{87A74272-2AF6-44E8-8FF0-A33CC48AD214}" srcId="{83C5FF3E-5FF2-43BD-8BBB-9BBE01C0E86C}" destId="{8419870B-9B6D-4CF4-ADA5-A0E97C31CB9B}" srcOrd="2" destOrd="0" parTransId="{89F777C6-18C5-4B61-80A4-9EA920E5E829}" sibTransId="{A5055CA0-818C-48CB-8382-1ADA1AC76F65}"/>
    <dgm:cxn modelId="{344C560E-107D-45AB-B216-7360B3492D8E}" srcId="{B6E487E3-D46A-4417-B7A6-9FE91C097C61}" destId="{7A787818-175C-45FC-9B36-3A91BF36EBF6}" srcOrd="1" destOrd="0" parTransId="{A4B8D60A-2173-496D-816B-F4B4027FC2C4}" sibTransId="{8E86EFC2-2711-49C2-8E65-09FC28899287}"/>
    <dgm:cxn modelId="{6785E2A7-63A4-47DC-B5EA-7EDBE87BC411}" srcId="{3619DE1C-FEB4-491C-8F7A-9AB7650FBCEF}" destId="{827CC27A-0185-4865-A565-EF55D2605A36}" srcOrd="0" destOrd="0" parTransId="{55801313-8672-42F8-8339-23140B6920B6}" sibTransId="{976F92D8-3A26-4550-B05A-104EA9110227}"/>
    <dgm:cxn modelId="{15544E03-A501-429C-8CF0-B58F7694D920}" type="presOf" srcId="{33A3D57D-B320-47DE-A264-C833F740F346}" destId="{FEDA5A92-700A-4323-B15D-EB262C851A0B}" srcOrd="0" destOrd="2" presId="urn:microsoft.com/office/officeart/2005/8/layout/vList2"/>
    <dgm:cxn modelId="{36CCD465-024A-4E94-9D13-47DB75538318}" type="presParOf" srcId="{53429D14-92DB-4B4E-943E-AF2C58FB59D0}" destId="{ADBC968D-C54B-4D9F-A69C-CFEB382E8E02}" srcOrd="0" destOrd="0" presId="urn:microsoft.com/office/officeart/2005/8/layout/vList2"/>
    <dgm:cxn modelId="{DA889F08-D443-4B03-B33A-E93984A81AAF}" type="presParOf" srcId="{53429D14-92DB-4B4E-943E-AF2C58FB59D0}" destId="{FEDA5A92-700A-4323-B15D-EB262C851A0B}" srcOrd="1" destOrd="0" presId="urn:microsoft.com/office/officeart/2005/8/layout/vList2"/>
    <dgm:cxn modelId="{0114E2B3-82CD-4F0D-A607-B5CAC3058DA3}" type="presParOf" srcId="{53429D14-92DB-4B4E-943E-AF2C58FB59D0}" destId="{7357F823-3EF2-48AA-B950-1CED0EF8699B}" srcOrd="2" destOrd="0" presId="urn:microsoft.com/office/officeart/2005/8/layout/vList2"/>
    <dgm:cxn modelId="{70BCD0F8-59A3-4C67-B26B-1653A48A6DC5}" type="presParOf" srcId="{53429D14-92DB-4B4E-943E-AF2C58FB59D0}" destId="{A000B9C9-2811-4C55-817A-6F9D2B35DEEC}" srcOrd="3" destOrd="0" presId="urn:microsoft.com/office/officeart/2005/8/layout/vList2"/>
    <dgm:cxn modelId="{AFD9827F-D491-42BF-A476-C8312F577ECA}" type="presParOf" srcId="{53429D14-92DB-4B4E-943E-AF2C58FB59D0}" destId="{69D7501D-8E94-4402-A5F4-A49431A6B1D1}" srcOrd="4" destOrd="0" presId="urn:microsoft.com/office/officeart/2005/8/layout/vList2"/>
    <dgm:cxn modelId="{635F1EF0-B5A8-445D-813E-84B179410DF7}" type="presParOf" srcId="{53429D14-92DB-4B4E-943E-AF2C58FB59D0}" destId="{87922381-3953-46DD-8E39-AE9F47D338CA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 algn="just"/>
          <a:r>
            <a:rPr lang="ru-RU" sz="1800" b="1" dirty="0" smtClean="0"/>
            <a:t>Сбор информации от претендентов, проведение внутреннего конкурсного отбора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2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2CF396A-50CF-4A6B-B97D-A27B1C6B84A8}" type="presOf" srcId="{7D3EDE78-357E-4F7E-95AF-93BAD733999C}" destId="{B19A45E8-9114-46B8-ABB1-C5D4B5041A75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BEB0684B-D326-4DFC-B7D7-7C11FCDAD94D}" type="presOf" srcId="{10FD7243-DBEA-4098-AB4E-C7B7E1209E8F}" destId="{A7217D00-E232-4637-AD75-679D2F048C33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D7B377F5-5872-49BF-8E57-2922DBDF7D82}" type="presOf" srcId="{DCBBB76E-1E80-43CE-A3E4-F678CD28F155}" destId="{EA120FCF-C6AA-4B87-877E-5992B78CA861}" srcOrd="0" destOrd="0" presId="urn:microsoft.com/office/officeart/2009/3/layout/IncreasingArrowsProcess"/>
    <dgm:cxn modelId="{D22B51A1-6564-4979-83DD-8137D96B8AF8}" type="presParOf" srcId="{A7217D00-E232-4637-AD75-679D2F048C33}" destId="{B19A45E8-9114-46B8-ABB1-C5D4B5041A75}" srcOrd="0" destOrd="0" presId="urn:microsoft.com/office/officeart/2009/3/layout/IncreasingArrowsProcess"/>
    <dgm:cxn modelId="{1729581B-4400-446B-AA1C-034066CE8063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6E487E3-D46A-4417-B7A6-9FE91C097C6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A787818-175C-45FC-9B36-3A91BF36EBF6}">
      <dgm:prSet phldrT="[Текст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b="1" dirty="0" smtClean="0"/>
            <a:t>Оформление заявки претендентами</a:t>
          </a:r>
          <a:endParaRPr lang="ru-RU" b="1" dirty="0"/>
        </a:p>
      </dgm:t>
    </dgm:pt>
    <dgm:pt modelId="{A4B8D60A-2173-496D-816B-F4B4027FC2C4}" type="parTrans" cxnId="{344C560E-107D-45AB-B216-7360B3492D8E}">
      <dgm:prSet/>
      <dgm:spPr/>
      <dgm:t>
        <a:bodyPr/>
        <a:lstStyle/>
        <a:p>
          <a:endParaRPr lang="ru-RU"/>
        </a:p>
      </dgm:t>
    </dgm:pt>
    <dgm:pt modelId="{8E86EFC2-2711-49C2-8E65-09FC28899287}" type="sibTrans" cxnId="{344C560E-107D-45AB-B216-7360B3492D8E}">
      <dgm:prSet/>
      <dgm:spPr/>
      <dgm:t>
        <a:bodyPr/>
        <a:lstStyle/>
        <a:p>
          <a:endParaRPr lang="ru-RU"/>
        </a:p>
      </dgm:t>
    </dgm:pt>
    <dgm:pt modelId="{53429D14-92DB-4B4E-943E-AF2C58FB59D0}" type="pres">
      <dgm:prSet presAssocID="{B6E487E3-D46A-4417-B7A6-9FE91C097C6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357F823-3EF2-48AA-B950-1CED0EF8699B}" type="pres">
      <dgm:prSet presAssocID="{7A787818-175C-45FC-9B36-3A91BF36EBF6}" presName="parentText" presStyleLbl="node1" presStyleIdx="0" presStyleCnt="1" custScaleY="12516" custLinFactY="-11681" custLinFactNeighborX="-524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968FB97-C582-494C-B675-0B4B62659B19}" type="presOf" srcId="{7A787818-175C-45FC-9B36-3A91BF36EBF6}" destId="{7357F823-3EF2-48AA-B950-1CED0EF8699B}" srcOrd="0" destOrd="0" presId="urn:microsoft.com/office/officeart/2005/8/layout/vList2"/>
    <dgm:cxn modelId="{344C560E-107D-45AB-B216-7360B3492D8E}" srcId="{B6E487E3-D46A-4417-B7A6-9FE91C097C61}" destId="{7A787818-175C-45FC-9B36-3A91BF36EBF6}" srcOrd="0" destOrd="0" parTransId="{A4B8D60A-2173-496D-816B-F4B4027FC2C4}" sibTransId="{8E86EFC2-2711-49C2-8E65-09FC28899287}"/>
    <dgm:cxn modelId="{CBEF64E2-C0B0-4125-B030-C608DB28FEB7}" type="presOf" srcId="{B6E487E3-D46A-4417-B7A6-9FE91C097C61}" destId="{53429D14-92DB-4B4E-943E-AF2C58FB59D0}" srcOrd="0" destOrd="0" presId="urn:microsoft.com/office/officeart/2005/8/layout/vList2"/>
    <dgm:cxn modelId="{7ADFA140-6005-4E0E-B1B6-AB4CCA6E127A}" type="presParOf" srcId="{53429D14-92DB-4B4E-943E-AF2C58FB59D0}" destId="{7357F823-3EF2-48AA-B950-1CED0EF8699B}" srcOrd="0" destOrd="0" presId="urn:microsoft.com/office/officeart/2005/8/layout/vList2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0FD7243-DBEA-4098-AB4E-C7B7E1209E8F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3EDE78-357E-4F7E-95AF-93BAD733999C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 smtClean="0"/>
            <a:t>Сбор информации от претендентов, проведение внутреннего конкурсного отбора</a:t>
          </a:r>
          <a:endParaRPr lang="ru-RU" sz="1800" b="1" dirty="0"/>
        </a:p>
      </dgm:t>
    </dgm:pt>
    <dgm:pt modelId="{AE87A85F-7FF9-4628-8456-66B616330012}" type="parTrans" cxnId="{6B635E97-A2F8-4B3F-ACF2-42E10AFB7645}">
      <dgm:prSet/>
      <dgm:spPr/>
      <dgm:t>
        <a:bodyPr/>
        <a:lstStyle/>
        <a:p>
          <a:endParaRPr lang="ru-RU"/>
        </a:p>
      </dgm:t>
    </dgm:pt>
    <dgm:pt modelId="{7A032121-7747-4B68-B4F0-170D706392BB}" type="sibTrans" cxnId="{6B635E97-A2F8-4B3F-ACF2-42E10AFB7645}">
      <dgm:prSet/>
      <dgm:spPr/>
      <dgm:t>
        <a:bodyPr/>
        <a:lstStyle/>
        <a:p>
          <a:endParaRPr lang="ru-RU"/>
        </a:p>
      </dgm:t>
    </dgm:pt>
    <dgm:pt modelId="{DCBBB76E-1E80-43CE-A3E4-F678CD28F155}">
      <dgm:prSet phldrT="[Текст]" custT="1"/>
      <dgm:spPr/>
      <dgm:t>
        <a:bodyPr/>
        <a:lstStyle/>
        <a:p>
          <a:pPr algn="ctr"/>
          <a:r>
            <a:rPr lang="ru-RU" sz="2000" b="1" dirty="0" smtClean="0"/>
            <a:t>2 этап</a:t>
          </a:r>
          <a:endParaRPr lang="ru-RU" sz="2000" b="1" dirty="0"/>
        </a:p>
      </dgm:t>
    </dgm:pt>
    <dgm:pt modelId="{71032A4F-DC2E-43D4-92FA-CE6C5EBFBB30}" type="parTrans" cxnId="{5E7B20F9-1168-49DF-93B6-4D780F3EF74A}">
      <dgm:prSet/>
      <dgm:spPr/>
      <dgm:t>
        <a:bodyPr/>
        <a:lstStyle/>
        <a:p>
          <a:endParaRPr lang="ru-RU"/>
        </a:p>
      </dgm:t>
    </dgm:pt>
    <dgm:pt modelId="{491EEF27-2D24-4C4C-9C6B-8BD94ACBBB6E}" type="sibTrans" cxnId="{5E7B20F9-1168-49DF-93B6-4D780F3EF74A}">
      <dgm:prSet/>
      <dgm:spPr/>
      <dgm:t>
        <a:bodyPr/>
        <a:lstStyle/>
        <a:p>
          <a:endParaRPr lang="ru-RU"/>
        </a:p>
      </dgm:t>
    </dgm:pt>
    <dgm:pt modelId="{A7217D00-E232-4637-AD75-679D2F048C33}" type="pres">
      <dgm:prSet presAssocID="{10FD7243-DBEA-4098-AB4E-C7B7E1209E8F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19A45E8-9114-46B8-ABB1-C5D4B5041A75}" type="pres">
      <dgm:prSet presAssocID="{7D3EDE78-357E-4F7E-95AF-93BAD733999C}" presName="parentText1" presStyleLbl="node1" presStyleIdx="0" presStyleCnt="1" custScaleX="83682" custLinFactY="-49303" custLinFactNeighborX="4446" custLinFactNeighborY="-100000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20FCF-C6AA-4B87-877E-5992B78CA861}" type="pres">
      <dgm:prSet presAssocID="{7D3EDE78-357E-4F7E-95AF-93BAD733999C}" presName="childText1" presStyleLbl="solidAlignAcc1" presStyleIdx="0" presStyleCnt="1" custScaleX="9678" custScaleY="20866" custLinFactY="-147" custLinFactNeighborX="-41524" custLinFactNeighborY="-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72362F6-3C63-4D21-923F-841D4F8B3C5F}" type="presOf" srcId="{10FD7243-DBEA-4098-AB4E-C7B7E1209E8F}" destId="{A7217D00-E232-4637-AD75-679D2F048C33}" srcOrd="0" destOrd="0" presId="urn:microsoft.com/office/officeart/2009/3/layout/IncreasingArrowsProcess"/>
    <dgm:cxn modelId="{5E7B20F9-1168-49DF-93B6-4D780F3EF74A}" srcId="{7D3EDE78-357E-4F7E-95AF-93BAD733999C}" destId="{DCBBB76E-1E80-43CE-A3E4-F678CD28F155}" srcOrd="0" destOrd="0" parTransId="{71032A4F-DC2E-43D4-92FA-CE6C5EBFBB30}" sibTransId="{491EEF27-2D24-4C4C-9C6B-8BD94ACBBB6E}"/>
    <dgm:cxn modelId="{FB1D4369-FCFE-4189-AED2-01F136BD3BBC}" type="presOf" srcId="{DCBBB76E-1E80-43CE-A3E4-F678CD28F155}" destId="{EA120FCF-C6AA-4B87-877E-5992B78CA861}" srcOrd="0" destOrd="0" presId="urn:microsoft.com/office/officeart/2009/3/layout/IncreasingArrowsProcess"/>
    <dgm:cxn modelId="{F493CCA9-D189-4177-AE1D-B4F66F501E29}" type="presOf" srcId="{7D3EDE78-357E-4F7E-95AF-93BAD733999C}" destId="{B19A45E8-9114-46B8-ABB1-C5D4B5041A75}" srcOrd="0" destOrd="0" presId="urn:microsoft.com/office/officeart/2009/3/layout/IncreasingArrowsProcess"/>
    <dgm:cxn modelId="{6B635E97-A2F8-4B3F-ACF2-42E10AFB7645}" srcId="{10FD7243-DBEA-4098-AB4E-C7B7E1209E8F}" destId="{7D3EDE78-357E-4F7E-95AF-93BAD733999C}" srcOrd="0" destOrd="0" parTransId="{AE87A85F-7FF9-4628-8456-66B616330012}" sibTransId="{7A032121-7747-4B68-B4F0-170D706392BB}"/>
    <dgm:cxn modelId="{8ED0EF87-B1CB-43F9-A00A-86913A11A38B}" type="presParOf" srcId="{A7217D00-E232-4637-AD75-679D2F048C33}" destId="{B19A45E8-9114-46B8-ABB1-C5D4B5041A75}" srcOrd="0" destOrd="0" presId="urn:microsoft.com/office/officeart/2009/3/layout/IncreasingArrowsProcess"/>
    <dgm:cxn modelId="{1FC1DAE3-BD27-4072-841B-4703DED1F098}" type="presParOf" srcId="{A7217D00-E232-4637-AD75-679D2F048C33}" destId="{EA120FCF-C6AA-4B87-877E-5992B78CA861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3C587A-5728-4A92-80A0-DC116A60ED1A}">
      <dsp:nvSpPr>
        <dsp:cNvPr id="0" name=""/>
        <dsp:cNvSpPr/>
      </dsp:nvSpPr>
      <dsp:spPr>
        <a:xfrm rot="2541690">
          <a:off x="4128024" y="3351560"/>
          <a:ext cx="536227" cy="674793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5FC5D4-301B-4B83-9C3C-46C9AEADE4A9}">
      <dsp:nvSpPr>
        <dsp:cNvPr id="0" name=""/>
        <dsp:cNvSpPr/>
      </dsp:nvSpPr>
      <dsp:spPr>
        <a:xfrm>
          <a:off x="340772" y="304158"/>
          <a:ext cx="1601593" cy="960956"/>
        </a:xfrm>
        <a:prstGeom prst="roundRect">
          <a:avLst>
            <a:gd name="adj" fmla="val 10000"/>
          </a:avLst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авительство области</a:t>
          </a:r>
        </a:p>
      </dsp:txBody>
      <dsp:txXfrm>
        <a:off x="368917" y="332303"/>
        <a:ext cx="1545303" cy="904666"/>
      </dsp:txXfrm>
    </dsp:sp>
    <dsp:sp modelId="{E49FB858-64FC-4F86-B0F1-1F3EE976C931}">
      <dsp:nvSpPr>
        <dsp:cNvPr id="0" name=""/>
        <dsp:cNvSpPr/>
      </dsp:nvSpPr>
      <dsp:spPr>
        <a:xfrm rot="124539" flipH="1">
          <a:off x="5726854" y="5055616"/>
          <a:ext cx="429838" cy="394550"/>
        </a:xfrm>
        <a:prstGeom prst="smileyFace">
          <a:avLst/>
        </a:prstGeom>
        <a:solidFill>
          <a:srgbClr val="FFC000"/>
        </a:solidFill>
        <a:ln>
          <a:solidFill>
            <a:srgbClr val="4F81BD">
              <a:shade val="50000"/>
            </a:srgbClr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F5452F-346C-4AC7-BF6E-E9845B7CC7F2}">
      <dsp:nvSpPr>
        <dsp:cNvPr id="0" name=""/>
        <dsp:cNvSpPr/>
      </dsp:nvSpPr>
      <dsp:spPr>
        <a:xfrm>
          <a:off x="329544" y="1389702"/>
          <a:ext cx="1601593" cy="136851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оведение конкурсного отбора</a:t>
          </a:r>
          <a:endParaRPr lang="ru-RU" sz="1200" kern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369626" y="1429784"/>
        <a:ext cx="1521429" cy="1288353"/>
      </dsp:txXfrm>
    </dsp:sp>
    <dsp:sp modelId="{31563D53-AB32-4553-B7CA-ECDDC79D4D61}">
      <dsp:nvSpPr>
        <dsp:cNvPr id="0" name=""/>
        <dsp:cNvSpPr/>
      </dsp:nvSpPr>
      <dsp:spPr>
        <a:xfrm rot="2756796">
          <a:off x="1943677" y="4239138"/>
          <a:ext cx="528183" cy="735033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22D57A-F75C-4124-8B9A-ED8FADAD85C3}">
      <dsp:nvSpPr>
        <dsp:cNvPr id="0" name=""/>
        <dsp:cNvSpPr/>
      </dsp:nvSpPr>
      <dsp:spPr>
        <a:xfrm>
          <a:off x="379947" y="2967631"/>
          <a:ext cx="1601593" cy="115776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Издание распоряжения Губернатора области о назначении стипендий</a:t>
          </a:r>
        </a:p>
      </dsp:txBody>
      <dsp:txXfrm>
        <a:off x="413857" y="3001541"/>
        <a:ext cx="1533773" cy="1089940"/>
      </dsp:txXfrm>
    </dsp:sp>
    <dsp:sp modelId="{3A59E2CC-4CF4-4E8A-B4B6-4F3D92F8627D}">
      <dsp:nvSpPr>
        <dsp:cNvPr id="0" name=""/>
        <dsp:cNvSpPr/>
      </dsp:nvSpPr>
      <dsp:spPr>
        <a:xfrm rot="16123379">
          <a:off x="938033" y="2641321"/>
          <a:ext cx="272518" cy="488098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6ED99A-7F5F-40D4-A771-A5A6DDE3DAA3}">
      <dsp:nvSpPr>
        <dsp:cNvPr id="0" name=""/>
        <dsp:cNvSpPr/>
      </dsp:nvSpPr>
      <dsp:spPr>
        <a:xfrm>
          <a:off x="2542034" y="3276655"/>
          <a:ext cx="1601593" cy="1268721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Формирование комплекта заявлений и передача на обработку</a:t>
          </a:r>
          <a:endParaRPr lang="ru-RU" sz="1200" kern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2579194" y="3313815"/>
        <a:ext cx="1527273" cy="1194401"/>
      </dsp:txXfrm>
    </dsp:sp>
    <dsp:sp modelId="{9B9B03EF-05DB-4F09-BA0E-A0D4030923D9}">
      <dsp:nvSpPr>
        <dsp:cNvPr id="0" name=""/>
        <dsp:cNvSpPr/>
      </dsp:nvSpPr>
      <dsp:spPr>
        <a:xfrm rot="16200000">
          <a:off x="1991762" y="445006"/>
          <a:ext cx="361687" cy="557241"/>
        </a:xfrm>
        <a:prstGeom prst="mathDivide">
          <a:avLst/>
        </a:prstGeom>
        <a:solidFill>
          <a:srgbClr val="C0504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29E00A-784B-4BA4-B22F-7428E659AC8B}">
      <dsp:nvSpPr>
        <dsp:cNvPr id="0" name=""/>
        <dsp:cNvSpPr/>
      </dsp:nvSpPr>
      <dsp:spPr>
        <a:xfrm>
          <a:off x="2501778" y="1416763"/>
          <a:ext cx="1601593" cy="1353257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оведение </a:t>
          </a: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внутреннего конкурсного </a:t>
          </a:r>
          <a:r>
            <a:rPr lang="ru-RU" sz="1200" kern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тбора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Формирование списка </a:t>
          </a: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ретендентов</a:t>
          </a:r>
          <a:endParaRPr lang="ru-RU" sz="1200" kern="1200" dirty="0">
            <a:solidFill>
              <a:sysClr val="window" lastClr="FFFFFF"/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dsp:txBody>
      <dsp:txXfrm>
        <a:off x="2541414" y="1456399"/>
        <a:ext cx="1522321" cy="1273985"/>
      </dsp:txXfrm>
    </dsp:sp>
    <dsp:sp modelId="{4C9D5939-25EB-4842-955C-354B57BA0CDE}">
      <dsp:nvSpPr>
        <dsp:cNvPr id="0" name=""/>
        <dsp:cNvSpPr/>
      </dsp:nvSpPr>
      <dsp:spPr>
        <a:xfrm flipV="1">
          <a:off x="4072589" y="1887523"/>
          <a:ext cx="523998" cy="447729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38CD2C-A8A1-40AC-8FAD-7515E38096FE}">
      <dsp:nvSpPr>
        <dsp:cNvPr id="0" name=""/>
        <dsp:cNvSpPr/>
      </dsp:nvSpPr>
      <dsp:spPr>
        <a:xfrm>
          <a:off x="2413186" y="302592"/>
          <a:ext cx="1723010" cy="960956"/>
        </a:xfrm>
        <a:prstGeom prst="flowChartMultidocument">
          <a:avLst/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разовательная организация</a:t>
          </a:r>
        </a:p>
      </dsp:txBody>
      <dsp:txXfrm>
        <a:off x="2413186" y="466088"/>
        <a:ext cx="1483304" cy="761068"/>
      </dsp:txXfrm>
    </dsp:sp>
    <dsp:sp modelId="{FC12D61A-6B5B-485C-BA12-D6B11E3C54E9}">
      <dsp:nvSpPr>
        <dsp:cNvPr id="0" name=""/>
        <dsp:cNvSpPr/>
      </dsp:nvSpPr>
      <dsp:spPr>
        <a:xfrm rot="16200155" flipH="1">
          <a:off x="3142869" y="1826936"/>
          <a:ext cx="399939" cy="2588830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739627-B4A1-4263-8975-DF072C5DA3A1}">
      <dsp:nvSpPr>
        <dsp:cNvPr id="0" name=""/>
        <dsp:cNvSpPr/>
      </dsp:nvSpPr>
      <dsp:spPr>
        <a:xfrm>
          <a:off x="4569388" y="250786"/>
          <a:ext cx="1601593" cy="960956"/>
        </a:xfrm>
        <a:prstGeom prst="flowChartMultidocument">
          <a:avLst/>
        </a:prstGeom>
        <a:solidFill>
          <a:srgbClr val="C0504D">
            <a:lumMod val="60000"/>
            <a:lumOff val="4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олучатель</a:t>
          </a:r>
        </a:p>
      </dsp:txBody>
      <dsp:txXfrm>
        <a:off x="4569388" y="414282"/>
        <a:ext cx="1378779" cy="761068"/>
      </dsp:txXfrm>
    </dsp:sp>
    <dsp:sp modelId="{795B6CC0-8EC3-4669-9875-974D5816574A}">
      <dsp:nvSpPr>
        <dsp:cNvPr id="0" name=""/>
        <dsp:cNvSpPr/>
      </dsp:nvSpPr>
      <dsp:spPr>
        <a:xfrm rot="16149900">
          <a:off x="4155252" y="447329"/>
          <a:ext cx="329968" cy="528847"/>
        </a:xfrm>
        <a:prstGeom prst="mathDivide">
          <a:avLst/>
        </a:prstGeom>
        <a:solidFill>
          <a:srgbClr val="C0504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7715F1-75C4-4271-B4F6-8DE0E62B4E78}">
      <dsp:nvSpPr>
        <dsp:cNvPr id="0" name=""/>
        <dsp:cNvSpPr/>
      </dsp:nvSpPr>
      <dsp:spPr>
        <a:xfrm>
          <a:off x="4559362" y="1367177"/>
          <a:ext cx="1601593" cy="1245879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Заявка </a:t>
          </a:r>
          <a:r>
            <a:rPr lang="ru-RU" sz="1200" kern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на участие в конкурсном отборе</a:t>
          </a:r>
        </a:p>
      </dsp:txBody>
      <dsp:txXfrm>
        <a:off x="4595853" y="1403668"/>
        <a:ext cx="1528611" cy="1172897"/>
      </dsp:txXfrm>
    </dsp:sp>
    <dsp:sp modelId="{0CD466EC-0AC3-449C-925A-B0243D0D4864}">
      <dsp:nvSpPr>
        <dsp:cNvPr id="0" name=""/>
        <dsp:cNvSpPr/>
      </dsp:nvSpPr>
      <dsp:spPr>
        <a:xfrm rot="5386332">
          <a:off x="1989084" y="1864066"/>
          <a:ext cx="471131" cy="565797"/>
        </a:xfrm>
        <a:prstGeom prst="down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710EDB-3D22-4A7F-8F91-AFA2C70F629E}">
      <dsp:nvSpPr>
        <dsp:cNvPr id="0" name=""/>
        <dsp:cNvSpPr/>
      </dsp:nvSpPr>
      <dsp:spPr>
        <a:xfrm>
          <a:off x="4592955" y="2863435"/>
          <a:ext cx="1601593" cy="1311292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формление заявления на обработку персональных данных с указанием банковских реквизитов</a:t>
          </a:r>
        </a:p>
      </dsp:txBody>
      <dsp:txXfrm>
        <a:off x="4631361" y="2901841"/>
        <a:ext cx="1524781" cy="1234480"/>
      </dsp:txXfrm>
    </dsp:sp>
    <dsp:sp modelId="{45B041D4-1B0C-4D23-BFCB-F7F38E08ED6B}">
      <dsp:nvSpPr>
        <dsp:cNvPr id="0" name=""/>
        <dsp:cNvSpPr/>
      </dsp:nvSpPr>
      <dsp:spPr>
        <a:xfrm rot="10800000">
          <a:off x="1687278" y="4975954"/>
          <a:ext cx="2952449" cy="416404"/>
        </a:xfrm>
        <a:prstGeom prst="leftArrow">
          <a:avLst/>
        </a:prstGeom>
        <a:solidFill>
          <a:srgbClr val="4F81BD">
            <a:tint val="60000"/>
            <a:hueOff val="0"/>
            <a:satOff val="0"/>
            <a:lumOff val="0"/>
            <a:alphaOff val="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DEE11E-E5D0-481A-999D-1C7C376F6E0C}">
      <dsp:nvSpPr>
        <dsp:cNvPr id="0" name=""/>
        <dsp:cNvSpPr/>
      </dsp:nvSpPr>
      <dsp:spPr>
        <a:xfrm>
          <a:off x="4621992" y="4519053"/>
          <a:ext cx="1601593" cy="960956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Зачисление средств на лицевой счет получателя</a:t>
          </a:r>
        </a:p>
      </dsp:txBody>
      <dsp:txXfrm>
        <a:off x="4650137" y="4547198"/>
        <a:ext cx="1545303" cy="904666"/>
      </dsp:txXfrm>
    </dsp:sp>
    <dsp:sp modelId="{8C194130-1A46-47C4-8750-946FDD03AF05}">
      <dsp:nvSpPr>
        <dsp:cNvPr id="0" name=""/>
        <dsp:cNvSpPr/>
      </dsp:nvSpPr>
      <dsp:spPr>
        <a:xfrm>
          <a:off x="429876" y="4271581"/>
          <a:ext cx="1470054" cy="1171030"/>
        </a:xfrm>
        <a:prstGeom prst="roundRect">
          <a:avLst>
            <a:gd name="adj" fmla="val 10000"/>
          </a:avLst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работка заявлений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Перечисление </a:t>
          </a:r>
          <a:r>
            <a:rPr lang="ru-RU" sz="1200" kern="1200" dirty="0">
              <a:solidFill>
                <a:sysClr val="window" lastClr="FFFFFF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средств на лицевой счет получателей</a:t>
          </a:r>
        </a:p>
      </dsp:txBody>
      <dsp:txXfrm>
        <a:off x="464174" y="4305879"/>
        <a:ext cx="1401458" cy="110243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F7DBB1-0CCC-4EFC-9849-85DEDE265689}">
      <dsp:nvSpPr>
        <dsp:cNvPr id="0" name=""/>
        <dsp:cNvSpPr/>
      </dsp:nvSpPr>
      <dsp:spPr>
        <a:xfrm>
          <a:off x="0" y="2250"/>
          <a:ext cx="871296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48B1953-BA0E-4E5E-BBE3-229A9227FDFC}">
      <dsp:nvSpPr>
        <dsp:cNvPr id="0" name=""/>
        <dsp:cNvSpPr/>
      </dsp:nvSpPr>
      <dsp:spPr>
        <a:xfrm>
          <a:off x="0" y="2250"/>
          <a:ext cx="1742593" cy="46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u="sng" kern="1200" dirty="0" smtClean="0"/>
            <a:t>Оформление Описания достижений претендента</a:t>
          </a:r>
          <a:endParaRPr lang="ru-RU" sz="1400" u="sng" kern="1200" dirty="0"/>
        </a:p>
      </dsp:txBody>
      <dsp:txXfrm>
        <a:off x="0" y="2250"/>
        <a:ext cx="1742593" cy="4604011"/>
      </dsp:txXfrm>
    </dsp:sp>
    <dsp:sp modelId="{A10F08C4-6ED0-4179-9859-C401D3AECE5F}">
      <dsp:nvSpPr>
        <dsp:cNvPr id="0" name=""/>
        <dsp:cNvSpPr/>
      </dsp:nvSpPr>
      <dsp:spPr>
        <a:xfrm>
          <a:off x="1873288" y="29648"/>
          <a:ext cx="6839679" cy="956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Формы установлены Положением для каждого вида именной стипендии (приложения к формам 1 – 6 списков претендентов в Приложении 1 к Положению). </a:t>
          </a:r>
          <a:endParaRPr lang="ru-RU" sz="1600" u="none" kern="1200" dirty="0"/>
        </a:p>
      </dsp:txBody>
      <dsp:txXfrm>
        <a:off x="1873288" y="29648"/>
        <a:ext cx="6839679" cy="956671"/>
      </dsp:txXfrm>
    </dsp:sp>
    <dsp:sp modelId="{27A8DFF7-1D22-49BC-9A98-D8C5C8CA561A}">
      <dsp:nvSpPr>
        <dsp:cNvPr id="0" name=""/>
        <dsp:cNvSpPr/>
      </dsp:nvSpPr>
      <dsp:spPr>
        <a:xfrm>
          <a:off x="1742593" y="986320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2333015-FF94-4906-8075-5EFD1EA60BE7}">
      <dsp:nvSpPr>
        <dsp:cNvPr id="0" name=""/>
        <dsp:cNvSpPr/>
      </dsp:nvSpPr>
      <dsp:spPr>
        <a:xfrm>
          <a:off x="1873288" y="1013718"/>
          <a:ext cx="6839679" cy="6645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Заполняется претендентом лично с использованием средств печатного набора текста.</a:t>
          </a:r>
        </a:p>
      </dsp:txBody>
      <dsp:txXfrm>
        <a:off x="1873288" y="1013718"/>
        <a:ext cx="6839679" cy="664536"/>
      </dsp:txXfrm>
    </dsp:sp>
    <dsp:sp modelId="{F11B68E5-44C9-4CD5-9BD5-8F27652D344B}">
      <dsp:nvSpPr>
        <dsp:cNvPr id="0" name=""/>
        <dsp:cNvSpPr/>
      </dsp:nvSpPr>
      <dsp:spPr>
        <a:xfrm>
          <a:off x="1742593" y="1678254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6E6C5F7C-1A14-40EF-B360-0599672DAAAB}">
      <dsp:nvSpPr>
        <dsp:cNvPr id="0" name=""/>
        <dsp:cNvSpPr/>
      </dsp:nvSpPr>
      <dsp:spPr>
        <a:xfrm>
          <a:off x="1873288" y="1705652"/>
          <a:ext cx="6839679" cy="11455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Информация заполняется в </a:t>
          </a:r>
          <a:r>
            <a:rPr lang="ru-RU" sz="1600" u="none" kern="1200" dirty="0" smtClean="0"/>
            <a:t>последовательности позиций, </a:t>
          </a:r>
          <a:r>
            <a:rPr lang="ru-RU" sz="1600" u="none" kern="1200" dirty="0" smtClean="0"/>
            <a:t>определенной в </a:t>
          </a:r>
          <a:r>
            <a:rPr lang="ru-RU" sz="1600" u="none" kern="1200" dirty="0" smtClean="0"/>
            <a:t>подстрочниках, </a:t>
          </a:r>
          <a:r>
            <a:rPr lang="ru-RU" sz="1600" u="none" kern="1200" dirty="0" smtClean="0"/>
            <a:t>в строгом соответствии с материалами, подтверждающими достижения. Сокращения и использование обозначений не допускается.</a:t>
          </a:r>
        </a:p>
      </dsp:txBody>
      <dsp:txXfrm>
        <a:off x="1873288" y="1705652"/>
        <a:ext cx="6839679" cy="1145576"/>
      </dsp:txXfrm>
    </dsp:sp>
    <dsp:sp modelId="{CD8F6A36-ACA5-4F0B-978D-6B40948606F6}">
      <dsp:nvSpPr>
        <dsp:cNvPr id="0" name=""/>
        <dsp:cNvSpPr/>
      </dsp:nvSpPr>
      <dsp:spPr>
        <a:xfrm>
          <a:off x="1742593" y="2851229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73EA835-9414-4588-AFBF-12B1F535B5AC}">
      <dsp:nvSpPr>
        <dsp:cNvPr id="0" name=""/>
        <dsp:cNvSpPr/>
      </dsp:nvSpPr>
      <dsp:spPr>
        <a:xfrm>
          <a:off x="1873288" y="2878627"/>
          <a:ext cx="6839679" cy="547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Указываются достижения, полученные в период с 01 сентября 2016 года по 31 августа 2017 года и подтвержденные документально.</a:t>
          </a:r>
          <a:endParaRPr lang="ru-RU" sz="1600" u="none" kern="1200" dirty="0"/>
        </a:p>
      </dsp:txBody>
      <dsp:txXfrm>
        <a:off x="1873288" y="2878627"/>
        <a:ext cx="6839679" cy="547962"/>
      </dsp:txXfrm>
    </dsp:sp>
    <dsp:sp modelId="{40E85725-C426-492C-BDA4-39ADF0963121}">
      <dsp:nvSpPr>
        <dsp:cNvPr id="0" name=""/>
        <dsp:cNvSpPr/>
      </dsp:nvSpPr>
      <dsp:spPr>
        <a:xfrm>
          <a:off x="1742593" y="3426590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01B5E99-5307-4050-AECC-9381789D34B6}">
      <dsp:nvSpPr>
        <dsp:cNvPr id="0" name=""/>
        <dsp:cNvSpPr/>
      </dsp:nvSpPr>
      <dsp:spPr>
        <a:xfrm>
          <a:off x="1873288" y="3453988"/>
          <a:ext cx="6839679" cy="547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Подписывается лично претендентом с указанием даты представления в организацию.</a:t>
          </a:r>
          <a:endParaRPr lang="ru-RU" sz="1600" u="none" kern="1200" dirty="0"/>
        </a:p>
      </dsp:txBody>
      <dsp:txXfrm>
        <a:off x="1873288" y="3453988"/>
        <a:ext cx="6839679" cy="547962"/>
      </dsp:txXfrm>
    </dsp:sp>
    <dsp:sp modelId="{C438ECBD-8828-4BE7-AA30-19CD972315DB}">
      <dsp:nvSpPr>
        <dsp:cNvPr id="0" name=""/>
        <dsp:cNvSpPr/>
      </dsp:nvSpPr>
      <dsp:spPr>
        <a:xfrm>
          <a:off x="1742593" y="4001951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641A273-C837-4A29-816B-02EF057B97C4}">
      <dsp:nvSpPr>
        <dsp:cNvPr id="0" name=""/>
        <dsp:cNvSpPr/>
      </dsp:nvSpPr>
      <dsp:spPr>
        <a:xfrm>
          <a:off x="1873288" y="4029349"/>
          <a:ext cx="6839679" cy="5479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600" u="none" kern="1200" dirty="0" smtClean="0"/>
            <a:t>К Описанию достижений прилагаются материалы, их подтверждающие.</a:t>
          </a:r>
          <a:endParaRPr lang="ru-RU" sz="1600" u="none" kern="1200" dirty="0"/>
        </a:p>
      </dsp:txBody>
      <dsp:txXfrm>
        <a:off x="1873288" y="4029349"/>
        <a:ext cx="6839679" cy="547962"/>
      </dsp:txXfrm>
    </dsp:sp>
    <dsp:sp modelId="{96BEF015-0F30-4039-BC05-BA18DCEBC354}">
      <dsp:nvSpPr>
        <dsp:cNvPr id="0" name=""/>
        <dsp:cNvSpPr/>
      </dsp:nvSpPr>
      <dsp:spPr>
        <a:xfrm>
          <a:off x="1742593" y="4577312"/>
          <a:ext cx="697037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формление списков претендентов и направление материалов в Правительство области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3B2CDF-8148-4F86-AD92-50484BF3B5B2}">
      <dsp:nvSpPr>
        <dsp:cNvPr id="0" name=""/>
        <dsp:cNvSpPr/>
      </dsp:nvSpPr>
      <dsp:spPr>
        <a:xfrm>
          <a:off x="0" y="0"/>
          <a:ext cx="8280918" cy="748020"/>
        </a:xfrm>
        <a:prstGeom prst="roundRect">
          <a:avLst/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Оформление списков претендентов</a:t>
          </a:r>
          <a:endParaRPr lang="ru-RU" sz="2400" kern="1200" dirty="0"/>
        </a:p>
      </dsp:txBody>
      <dsp:txXfrm>
        <a:off x="36515" y="36515"/>
        <a:ext cx="8207888" cy="674990"/>
      </dsp:txXfrm>
    </dsp:sp>
    <dsp:sp modelId="{ADFE0003-C8E2-43A7-AD91-A4F84F7F4205}">
      <dsp:nvSpPr>
        <dsp:cNvPr id="0" name=""/>
        <dsp:cNvSpPr/>
      </dsp:nvSpPr>
      <dsp:spPr>
        <a:xfrm>
          <a:off x="0" y="752537"/>
          <a:ext cx="8280918" cy="35808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17780" rIns="99568" bIns="17780" numCol="1" spcCol="1270" anchor="t" anchorCtr="0">
          <a:noAutofit/>
        </a:bodyPr>
        <a:lstStyle/>
        <a:p>
          <a:pPr marL="171450" lvl="1" indent="0" algn="l" defTabSz="6223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400" kern="1200" dirty="0" smtClean="0"/>
            <a:t>Списки оформляются лицом, определенным организацией в качестве исполнителя.</a:t>
          </a:r>
          <a:endParaRPr lang="ru-RU" sz="1400" kern="1200" dirty="0"/>
        </a:p>
        <a:p>
          <a:pPr marL="171450" lvl="1" indent="0" algn="just" defTabSz="6223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en-US" sz="1400" kern="1200" dirty="0" smtClean="0"/>
            <a:t> </a:t>
          </a:r>
          <a:r>
            <a:rPr lang="ru-RU" sz="1400" kern="1200" dirty="0" smtClean="0"/>
            <a:t>Заполняются на основании представленных претендентами описаний достижений и подтверждающих материалов при  условии соответствия достижения виду, статусу и времени, определенных в Положении об именных стипендиях .</a:t>
          </a:r>
          <a:endParaRPr lang="ru-RU" sz="1400" kern="1200" dirty="0"/>
        </a:p>
        <a:p>
          <a:pPr marL="171450" lvl="1" indent="0" algn="just" defTabSz="6223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400" kern="1200" dirty="0" smtClean="0"/>
            <a:t>Формы 1-6 заполняются в соответствии с пояснениями, размещенными в примечаниях к формам (шрифт </a:t>
          </a:r>
          <a:r>
            <a:rPr lang="en-US" sz="1400" kern="1200" dirty="0" smtClean="0"/>
            <a:t>Times New Roman</a:t>
          </a:r>
          <a:r>
            <a:rPr lang="ru-RU" sz="1400" kern="1200" dirty="0" smtClean="0"/>
            <a:t>, размер - 9)</a:t>
          </a:r>
          <a:endParaRPr lang="ru-RU" sz="1400" kern="1200" dirty="0"/>
        </a:p>
        <a:p>
          <a:pPr marL="722313" lvl="2" indent="0" algn="just" defTabSz="622300">
            <a:lnSpc>
              <a:spcPct val="10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ru-RU" sz="1400" kern="1200" dirty="0" smtClean="0"/>
            <a:t>Используется система  принимаемых сокращений статуса и вида мероприятий, изданий,</a:t>
          </a:r>
          <a:endParaRPr lang="ru-RU" sz="1400" kern="1200" dirty="0"/>
        </a:p>
        <a:p>
          <a:pPr marL="722313" lvl="2" indent="0" algn="l" defTabSz="622300">
            <a:lnSpc>
              <a:spcPct val="10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ru-RU" sz="1400" kern="1200" dirty="0" smtClean="0"/>
            <a:t>Указывается количество достижений, статус участия претендента.</a:t>
          </a:r>
          <a:endParaRPr lang="ru-RU" sz="1400" kern="1200" dirty="0"/>
        </a:p>
        <a:p>
          <a:pPr marL="722313" lvl="2" indent="0" algn="just" defTabSz="622300">
            <a:lnSpc>
              <a:spcPct val="10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ru-RU" sz="1400" kern="1200" dirty="0" smtClean="0"/>
            <a:t>При полном совпадении характеристик достижений, их описание в списке объединяется в одну строку, объемные параметры суммируются.</a:t>
          </a:r>
          <a:endParaRPr lang="ru-RU" sz="1400" kern="1200" dirty="0"/>
        </a:p>
        <a:p>
          <a:pPr marL="722313" lvl="2" indent="0" algn="l" defTabSz="622300">
            <a:lnSpc>
              <a:spcPct val="100000"/>
            </a:lnSpc>
            <a:spcBef>
              <a:spcPct val="0"/>
            </a:spcBef>
            <a:spcAft>
              <a:spcPts val="300"/>
            </a:spcAft>
            <a:buChar char="••"/>
          </a:pPr>
          <a:r>
            <a:rPr lang="ru-RU" sz="1400" kern="1200" dirty="0" smtClean="0"/>
            <a:t>Подписывается руководителем организации и исполнителем. </a:t>
          </a:r>
          <a:endParaRPr lang="ru-RU" sz="1400" kern="1200" dirty="0"/>
        </a:p>
        <a:p>
          <a:pPr marL="171450" lvl="1" indent="0" algn="just" defTabSz="622300">
            <a:lnSpc>
              <a:spcPct val="10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400" kern="1200" dirty="0" smtClean="0"/>
            <a:t>К каждой форме прикладывается соответствующий комплект Описаний достижений претендентов. Допускаются  отметки исполнителя , вносимые в Описании  достижений претендентов и свидетельствующие об исключении достижения из-за выявленного несоответствия  критериям конкурсного отбора.</a:t>
          </a:r>
          <a:endParaRPr lang="ru-RU" sz="1400" kern="1200" dirty="0"/>
        </a:p>
      </dsp:txBody>
      <dsp:txXfrm>
        <a:off x="0" y="752537"/>
        <a:ext cx="8280918" cy="3580876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формление списков претендентов и направление материалов в Правительство области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BF4BA0-0DA0-48D0-B932-9B7CF076CF11}">
      <dsp:nvSpPr>
        <dsp:cNvPr id="0" name=""/>
        <dsp:cNvSpPr/>
      </dsp:nvSpPr>
      <dsp:spPr>
        <a:xfrm>
          <a:off x="3384373" y="1008116"/>
          <a:ext cx="527144" cy="987124"/>
        </a:xfrm>
        <a:prstGeom prst="rightArrow">
          <a:avLst/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24ECD1-E4B3-409F-BA44-089A6FFCA0BC}">
      <dsp:nvSpPr>
        <dsp:cNvPr id="0" name=""/>
        <dsp:cNvSpPr/>
      </dsp:nvSpPr>
      <dsp:spPr>
        <a:xfrm rot="5400000">
          <a:off x="59487" y="3769709"/>
          <a:ext cx="963964" cy="96396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4C793-3471-4416-BFF5-12668A4F8868}">
      <dsp:nvSpPr>
        <dsp:cNvPr id="0" name=""/>
        <dsp:cNvSpPr/>
      </dsp:nvSpPr>
      <dsp:spPr>
        <a:xfrm rot="16200000">
          <a:off x="-1383503" y="1527518"/>
          <a:ext cx="3778011" cy="7229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римеры оформления списка претендентов </a:t>
          </a:r>
          <a:r>
            <a:rPr lang="ru-RU" sz="2000" kern="1200" dirty="0" smtClean="0"/>
            <a:t>(учебные и научные достижения)</a:t>
          </a:r>
          <a:endParaRPr lang="ru-RU" sz="2000" kern="1200" dirty="0"/>
        </a:p>
      </dsp:txBody>
      <dsp:txXfrm>
        <a:off x="-1383503" y="1527518"/>
        <a:ext cx="3778011" cy="722973"/>
      </dsp:txXfrm>
    </dsp:sp>
    <dsp:sp modelId="{84E95C1E-FCFB-46DE-BC1B-A5A962BE3339}">
      <dsp:nvSpPr>
        <dsp:cNvPr id="0" name=""/>
        <dsp:cNvSpPr/>
      </dsp:nvSpPr>
      <dsp:spPr>
        <a:xfrm>
          <a:off x="1080123" y="565214"/>
          <a:ext cx="2896979" cy="3956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kern="1200" dirty="0" smtClean="0"/>
            <a:t>Достижение</a:t>
          </a:r>
          <a:r>
            <a:rPr lang="ru-RU" sz="1600" kern="1200" dirty="0" smtClean="0"/>
            <a:t> – 2 место в олимпиаде «</a:t>
          </a:r>
          <a:r>
            <a:rPr lang="en-US" sz="1600" kern="1200" dirty="0" smtClean="0"/>
            <a:t>IT</a:t>
          </a:r>
          <a:r>
            <a:rPr lang="ru-RU" sz="1600" kern="1200" dirty="0" smtClean="0"/>
            <a:t>-Планета» в составе команды вуза на первенстве ЦФО</a:t>
          </a:r>
          <a:endParaRPr lang="ru-RU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Отражение в Списке:</a:t>
          </a:r>
          <a:endParaRPr lang="ru-RU" sz="1600" i="1" u="none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МР О </a:t>
          </a:r>
          <a:r>
            <a:rPr lang="ru-RU" sz="1600" u="sng" kern="1200" dirty="0" smtClean="0"/>
            <a:t>– </a:t>
          </a:r>
          <a:r>
            <a:rPr lang="ru-RU" sz="1600" u="sng" kern="1200" dirty="0" smtClean="0"/>
            <a:t>1 </a:t>
          </a:r>
          <a:r>
            <a:rPr lang="ru-RU" sz="1600" u="sng" kern="1200" dirty="0" smtClean="0"/>
            <a:t>– </a:t>
          </a:r>
          <a:r>
            <a:rPr lang="ru-RU" sz="1600" u="sng" kern="1200" dirty="0" smtClean="0"/>
            <a:t>призер (в команде)</a:t>
          </a:r>
          <a:r>
            <a:rPr lang="ru-RU" sz="1800" u="sng" kern="1200" dirty="0" smtClean="0"/>
            <a:t>.</a:t>
          </a:r>
          <a:endParaRPr lang="ru-RU" sz="1800" u="sng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Достижение </a:t>
          </a:r>
          <a:r>
            <a:rPr lang="ru-RU" sz="1600" i="1" u="none" kern="1200" dirty="0" smtClean="0"/>
            <a:t>–</a:t>
          </a:r>
          <a:r>
            <a:rPr lang="ru-RU" sz="2000" u="none" kern="1200" dirty="0" smtClean="0"/>
            <a:t> </a:t>
          </a:r>
          <a:r>
            <a:rPr lang="ru-RU" sz="1600" u="none" kern="1200" dirty="0" smtClean="0"/>
            <a:t>1 место с докладом на конференции технических вузов</a:t>
          </a:r>
          <a:endParaRPr lang="ru-RU" sz="1600" u="none" kern="1200" dirty="0" smtClean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Отражение в Списке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ВД – 1 – победитель</a:t>
          </a:r>
          <a:endParaRPr lang="ru-RU" sz="2000" u="sng" kern="1200" dirty="0"/>
        </a:p>
      </dsp:txBody>
      <dsp:txXfrm>
        <a:off x="1080123" y="565214"/>
        <a:ext cx="2896979" cy="395659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формление списков претендентов и направление материалов в Правительство области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BF4BA0-0DA0-48D0-B932-9B7CF076CF11}">
      <dsp:nvSpPr>
        <dsp:cNvPr id="0" name=""/>
        <dsp:cNvSpPr/>
      </dsp:nvSpPr>
      <dsp:spPr>
        <a:xfrm>
          <a:off x="3424582" y="531714"/>
          <a:ext cx="527144" cy="987124"/>
        </a:xfrm>
        <a:prstGeom prst="rightArrow">
          <a:avLst/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24ECD1-E4B3-409F-BA44-089A6FFCA0BC}">
      <dsp:nvSpPr>
        <dsp:cNvPr id="0" name=""/>
        <dsp:cNvSpPr/>
      </dsp:nvSpPr>
      <dsp:spPr>
        <a:xfrm rot="5400000">
          <a:off x="280102" y="3860432"/>
          <a:ext cx="963964" cy="96396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4C793-3471-4416-BFF5-12668A4F8868}">
      <dsp:nvSpPr>
        <dsp:cNvPr id="0" name=""/>
        <dsp:cNvSpPr/>
      </dsp:nvSpPr>
      <dsp:spPr>
        <a:xfrm rot="16200000">
          <a:off x="-1137909" y="1625832"/>
          <a:ext cx="3415120" cy="7229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smtClean="0"/>
            <a:t>Примеры оформления списка претендентов (публикации)</a:t>
          </a:r>
          <a:endParaRPr lang="ru-RU" sz="2000" kern="1200" dirty="0"/>
        </a:p>
      </dsp:txBody>
      <dsp:txXfrm>
        <a:off x="-1137909" y="1625832"/>
        <a:ext cx="3415120" cy="722973"/>
      </dsp:txXfrm>
    </dsp:sp>
    <dsp:sp modelId="{84E95C1E-FCFB-46DE-BC1B-A5A962BE3339}">
      <dsp:nvSpPr>
        <dsp:cNvPr id="0" name=""/>
        <dsp:cNvSpPr/>
      </dsp:nvSpPr>
      <dsp:spPr>
        <a:xfrm>
          <a:off x="1300738" y="565214"/>
          <a:ext cx="2455748" cy="39565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kern="1200" dirty="0" smtClean="0"/>
            <a:t>Достижения</a:t>
          </a:r>
          <a:r>
            <a:rPr lang="ru-RU" sz="1600" kern="1200" dirty="0" smtClean="0"/>
            <a:t> - Тезисы докладов на двух межвузовских конференциях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…..  в объеме 0,4 </a:t>
          </a:r>
          <a:r>
            <a:rPr lang="ru-RU" sz="1600" kern="1200" dirty="0" err="1" smtClean="0"/>
            <a:t>п.л</a:t>
          </a:r>
          <a:r>
            <a:rPr lang="ru-RU" sz="1600" kern="1200" dirty="0" smtClean="0"/>
            <a:t>.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….. в объеме 0,2 </a:t>
          </a:r>
          <a:r>
            <a:rPr lang="ru-RU" sz="1600" kern="1200" dirty="0" err="1" smtClean="0"/>
            <a:t>п.л</a:t>
          </a:r>
          <a:r>
            <a:rPr lang="ru-RU" sz="1600" kern="1200" dirty="0" smtClean="0"/>
            <a:t>.</a:t>
          </a:r>
          <a:endParaRPr lang="ru-RU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Отражение в Списке:</a:t>
          </a:r>
          <a:endParaRPr lang="ru-RU" sz="1600" i="1" u="none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МВ КФ – 2 – 0,6 </a:t>
          </a:r>
          <a:r>
            <a:rPr lang="ru-RU" sz="1600" u="sng" kern="1200" dirty="0" err="1" smtClean="0"/>
            <a:t>п.л</a:t>
          </a:r>
          <a:r>
            <a:rPr lang="ru-RU" sz="1800" u="sng" kern="1200" dirty="0" smtClean="0"/>
            <a:t>.</a:t>
          </a:r>
          <a:endParaRPr lang="ru-RU" sz="1800" u="sng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Достижение -</a:t>
          </a:r>
          <a:r>
            <a:rPr lang="ru-RU" sz="2000" u="none" kern="1200" dirty="0" smtClean="0"/>
            <a:t> </a:t>
          </a:r>
          <a:r>
            <a:rPr lang="ru-RU" sz="1600" u="none" kern="1200" dirty="0" smtClean="0"/>
            <a:t>Статья в научном журнале списка ВАК в объеме 1 </a:t>
          </a:r>
          <a:r>
            <a:rPr lang="ru-RU" sz="1600" u="none" kern="1200" dirty="0" err="1" smtClean="0"/>
            <a:t>п.л</a:t>
          </a:r>
          <a:r>
            <a:rPr lang="ru-RU" sz="1600" u="none" kern="1200" dirty="0" smtClean="0"/>
            <a:t>.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Отражение в Списке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ВАК – 1 – 1 </a:t>
          </a:r>
          <a:r>
            <a:rPr lang="ru-RU" sz="1600" u="sng" kern="1200" dirty="0" err="1" smtClean="0"/>
            <a:t>п.л</a:t>
          </a:r>
          <a:r>
            <a:rPr lang="ru-RU" sz="2000" u="sng" kern="1200" dirty="0" smtClean="0"/>
            <a:t>.</a:t>
          </a:r>
          <a:endParaRPr lang="ru-RU" sz="2000" u="sng" kern="1200" dirty="0"/>
        </a:p>
      </dsp:txBody>
      <dsp:txXfrm>
        <a:off x="1300738" y="565214"/>
        <a:ext cx="2455748" cy="3956593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формление списков претендентов и направление материалов в Правительство области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BF4BA0-0DA0-48D0-B932-9B7CF076CF11}">
      <dsp:nvSpPr>
        <dsp:cNvPr id="0" name=""/>
        <dsp:cNvSpPr/>
      </dsp:nvSpPr>
      <dsp:spPr>
        <a:xfrm>
          <a:off x="3740076" y="506274"/>
          <a:ext cx="580403" cy="525035"/>
        </a:xfrm>
        <a:prstGeom prst="rightArrow">
          <a:avLst/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24ECD1-E4B3-409F-BA44-089A6FFCA0BC}">
      <dsp:nvSpPr>
        <dsp:cNvPr id="0" name=""/>
        <dsp:cNvSpPr/>
      </dsp:nvSpPr>
      <dsp:spPr>
        <a:xfrm rot="5400000">
          <a:off x="28579" y="3754801"/>
          <a:ext cx="963964" cy="96396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14C793-3471-4416-BFF5-12668A4F8868}">
      <dsp:nvSpPr>
        <dsp:cNvPr id="0" name=""/>
        <dsp:cNvSpPr/>
      </dsp:nvSpPr>
      <dsp:spPr>
        <a:xfrm rot="16200000">
          <a:off x="-1357122" y="1399757"/>
          <a:ext cx="3494372" cy="72297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римеры оформления списка претендентов (спортивные достижения)</a:t>
          </a:r>
          <a:endParaRPr lang="ru-RU" sz="2000" kern="1200" dirty="0"/>
        </a:p>
      </dsp:txBody>
      <dsp:txXfrm>
        <a:off x="-1357122" y="1399757"/>
        <a:ext cx="3494372" cy="722973"/>
      </dsp:txXfrm>
    </dsp:sp>
    <dsp:sp modelId="{84E95C1E-FCFB-46DE-BC1B-A5A962BE3339}">
      <dsp:nvSpPr>
        <dsp:cNvPr id="0" name=""/>
        <dsp:cNvSpPr/>
      </dsp:nvSpPr>
      <dsp:spPr>
        <a:xfrm>
          <a:off x="1059096" y="312390"/>
          <a:ext cx="2769085" cy="44622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kern="1200" dirty="0" smtClean="0"/>
            <a:t>Достижение</a:t>
          </a:r>
          <a:r>
            <a:rPr lang="ru-RU" sz="2000" kern="1200" dirty="0" smtClean="0"/>
            <a:t> - </a:t>
          </a:r>
          <a:r>
            <a:rPr lang="ru-RU" sz="1600" kern="1200" dirty="0" smtClean="0"/>
            <a:t>Участие в легкоатлетической эстафете на приз </a:t>
          </a:r>
          <a:r>
            <a:rPr lang="ru-RU" sz="1600" kern="1200" dirty="0" err="1" smtClean="0"/>
            <a:t>В.В.Терешковой</a:t>
          </a:r>
          <a:r>
            <a:rPr lang="ru-RU" sz="1600" kern="1200" dirty="0" smtClean="0"/>
            <a:t> в составе команды вуза – 3 место</a:t>
          </a:r>
          <a:endParaRPr lang="ru-RU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kern="1200" dirty="0" smtClean="0"/>
            <a:t>Отражение в Списке –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МЦ БЛ ЧЛ – 1 - 3 место</a:t>
          </a:r>
          <a:endParaRPr lang="ru-RU" sz="1600" u="sng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Достижение</a:t>
          </a:r>
          <a:r>
            <a:rPr lang="ru-RU" sz="1600" u="none" kern="1200" dirty="0" smtClean="0"/>
            <a:t> - Участие в чемпионате Ярославской области по шахматам в качестве судьи</a:t>
          </a:r>
          <a:endParaRPr lang="ru-RU" sz="1600" u="none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i="1" u="none" kern="1200" dirty="0" smtClean="0"/>
            <a:t>Отражение в Списке –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u="sng" kern="1200" dirty="0" smtClean="0"/>
            <a:t>РГ С - 1 - ОР</a:t>
          </a:r>
          <a:endParaRPr lang="ru-RU" sz="1600" u="sng" kern="1200" dirty="0"/>
        </a:p>
      </dsp:txBody>
      <dsp:txXfrm>
        <a:off x="1059096" y="312390"/>
        <a:ext cx="2769085" cy="4462241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формление списков претендентов и направление материалов в Правительство области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44036" y="157525"/>
          <a:ext cx="8424915" cy="1225572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45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Создание организационных предпосылок внутреннего отбора </a:t>
          </a:r>
          <a:endParaRPr lang="ru-RU" sz="1800" kern="1200" dirty="0"/>
        </a:p>
      </dsp:txBody>
      <dsp:txXfrm>
        <a:off x="144036" y="463918"/>
        <a:ext cx="8118522" cy="612786"/>
      </dsp:txXfrm>
    </dsp:sp>
    <dsp:sp modelId="{EA120FCF-C6AA-4B87-877E-5992B78CA861}">
      <dsp:nvSpPr>
        <dsp:cNvPr id="0" name=""/>
        <dsp:cNvSpPr/>
      </dsp:nvSpPr>
      <dsp:spPr>
        <a:xfrm>
          <a:off x="108784" y="1038458"/>
          <a:ext cx="884652" cy="80630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1 этап</a:t>
          </a:r>
          <a:endParaRPr lang="ru-RU" sz="2000" b="1" kern="1200" dirty="0"/>
        </a:p>
      </dsp:txBody>
      <dsp:txXfrm>
        <a:off x="108784" y="1038458"/>
        <a:ext cx="884652" cy="806305"/>
      </dsp:txXfrm>
    </dsp:sp>
    <dsp:sp modelId="{31BFA314-0260-4231-AC76-5AD198A04C7D}">
      <dsp:nvSpPr>
        <dsp:cNvPr id="0" name=""/>
        <dsp:cNvSpPr/>
      </dsp:nvSpPr>
      <dsp:spPr>
        <a:xfrm>
          <a:off x="1001845" y="965711"/>
          <a:ext cx="7567106" cy="1528608"/>
        </a:xfrm>
        <a:prstGeom prst="rightArrow">
          <a:avLst>
            <a:gd name="adj1" fmla="val 50000"/>
            <a:gd name="adj2" fmla="val 50000"/>
          </a:avLst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45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Сбор информации от претендентов, проведение внутреннего конкурсного отбора</a:t>
          </a:r>
          <a:endParaRPr lang="ru-RU" sz="1800" kern="1200" dirty="0"/>
        </a:p>
      </dsp:txBody>
      <dsp:txXfrm>
        <a:off x="1001845" y="1347863"/>
        <a:ext cx="7184954" cy="764304"/>
      </dsp:txXfrm>
    </dsp:sp>
    <dsp:sp modelId="{C5FBCD7D-C98B-4713-8284-B89D381D023A}">
      <dsp:nvSpPr>
        <dsp:cNvPr id="0" name=""/>
        <dsp:cNvSpPr/>
      </dsp:nvSpPr>
      <dsp:spPr>
        <a:xfrm>
          <a:off x="936098" y="2082574"/>
          <a:ext cx="912749" cy="86325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2 этап</a:t>
          </a:r>
          <a:endParaRPr lang="ru-RU" sz="2000" b="1" kern="1200" dirty="0"/>
        </a:p>
      </dsp:txBody>
      <dsp:txXfrm>
        <a:off x="936098" y="2082574"/>
        <a:ext cx="912749" cy="863251"/>
      </dsp:txXfrm>
    </dsp:sp>
    <dsp:sp modelId="{239FB8CA-E3FE-4816-B170-B9EA619DC46A}">
      <dsp:nvSpPr>
        <dsp:cNvPr id="0" name=""/>
        <dsp:cNvSpPr/>
      </dsp:nvSpPr>
      <dsp:spPr>
        <a:xfrm>
          <a:off x="1908217" y="1866587"/>
          <a:ext cx="6728803" cy="1657391"/>
        </a:xfrm>
        <a:prstGeom prst="rightArrow">
          <a:avLst>
            <a:gd name="adj1" fmla="val 50000"/>
            <a:gd name="adj2" fmla="val 50000"/>
          </a:avLst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45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Оформление списков претендентов и направление материалов в Правительство области</a:t>
          </a:r>
          <a:endParaRPr lang="ru-RU" sz="1800" kern="1200" dirty="0"/>
        </a:p>
      </dsp:txBody>
      <dsp:txXfrm>
        <a:off x="1908217" y="2280935"/>
        <a:ext cx="6314455" cy="828695"/>
      </dsp:txXfrm>
    </dsp:sp>
    <dsp:sp modelId="{52DA569D-7785-420B-B3A3-234DB30FAAF3}">
      <dsp:nvSpPr>
        <dsp:cNvPr id="0" name=""/>
        <dsp:cNvSpPr/>
      </dsp:nvSpPr>
      <dsp:spPr>
        <a:xfrm>
          <a:off x="1908990" y="3054699"/>
          <a:ext cx="905240" cy="82805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3 этап</a:t>
          </a:r>
          <a:endParaRPr lang="ru-RU" sz="2000" b="1" kern="1200" dirty="0"/>
        </a:p>
      </dsp:txBody>
      <dsp:txXfrm>
        <a:off x="1908990" y="3054699"/>
        <a:ext cx="905240" cy="828058"/>
      </dsp:txXfrm>
    </dsp:sp>
    <dsp:sp modelId="{DD1CD8DC-70BB-4CA3-B367-FB037FADE86F}">
      <dsp:nvSpPr>
        <dsp:cNvPr id="0" name=""/>
        <dsp:cNvSpPr/>
      </dsp:nvSpPr>
      <dsp:spPr>
        <a:xfrm>
          <a:off x="2909120" y="2753994"/>
          <a:ext cx="5595649" cy="2137717"/>
        </a:xfrm>
        <a:prstGeom prst="rightArrow">
          <a:avLst>
            <a:gd name="adj1" fmla="val 50000"/>
            <a:gd name="adj2" fmla="val 50000"/>
          </a:avLst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456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baseline="0" dirty="0" smtClean="0"/>
            <a:t>Оформление получателями заявлений на обработку персональных данных и направление комплекта материалов в Правительство области</a:t>
          </a:r>
          <a:endParaRPr lang="ru-RU" sz="1800" kern="1200" baseline="0" dirty="0"/>
        </a:p>
      </dsp:txBody>
      <dsp:txXfrm>
        <a:off x="2909120" y="3288423"/>
        <a:ext cx="5061220" cy="1068859"/>
      </dsp:txXfrm>
    </dsp:sp>
    <dsp:sp modelId="{F1FF144D-2473-4CE8-A311-B39A26C70ED0}">
      <dsp:nvSpPr>
        <dsp:cNvPr id="0" name=""/>
        <dsp:cNvSpPr/>
      </dsp:nvSpPr>
      <dsp:spPr>
        <a:xfrm>
          <a:off x="2917096" y="4320488"/>
          <a:ext cx="911000" cy="6586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baseline="0" dirty="0" smtClean="0"/>
            <a:t>4 этап</a:t>
          </a:r>
          <a:endParaRPr lang="ru-RU" sz="2000" b="1" kern="1200" baseline="0" dirty="0"/>
        </a:p>
      </dsp:txBody>
      <dsp:txXfrm>
        <a:off x="2917096" y="4320488"/>
        <a:ext cx="911000" cy="658664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A8834F-ADE8-4EB2-8614-07E8E909B763}">
      <dsp:nvSpPr>
        <dsp:cNvPr id="0" name=""/>
        <dsp:cNvSpPr/>
      </dsp:nvSpPr>
      <dsp:spPr>
        <a:xfrm>
          <a:off x="290550" y="0"/>
          <a:ext cx="7990367" cy="546035"/>
        </a:xfrm>
        <a:prstGeom prst="roundRect">
          <a:avLst/>
        </a:prstGeom>
        <a:solidFill>
          <a:srgbClr val="91BB7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/>
            <a:t>Направление материалов в Правительство области</a:t>
          </a:r>
          <a:endParaRPr lang="ru-RU" sz="2200" b="1" kern="1200" dirty="0"/>
        </a:p>
      </dsp:txBody>
      <dsp:txXfrm>
        <a:off x="317205" y="26655"/>
        <a:ext cx="7937057" cy="492725"/>
      </dsp:txXfrm>
    </dsp:sp>
    <dsp:sp modelId="{22516E29-FC68-4235-B525-957E8FBB2CC2}">
      <dsp:nvSpPr>
        <dsp:cNvPr id="0" name=""/>
        <dsp:cNvSpPr/>
      </dsp:nvSpPr>
      <dsp:spPr>
        <a:xfrm>
          <a:off x="0" y="538725"/>
          <a:ext cx="8280918" cy="42851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20320" rIns="113792" bIns="20320" numCol="1" spcCol="1270" anchor="t" anchorCtr="0">
          <a:noAutofit/>
        </a:bodyPr>
        <a:lstStyle/>
        <a:p>
          <a:pPr marL="274638" lvl="1" indent="-103188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Оформляется сопроводительное письмо о направлении материалов для участия претендентов в конкурсном отборе</a:t>
          </a:r>
          <a:endParaRPr lang="ru-RU" sz="1600" u="none" kern="1200" dirty="0"/>
        </a:p>
        <a:p>
          <a:pPr marL="900113" lvl="2" indent="0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Содержит поименный список претендентов в разрезе видов именных стипендий</a:t>
          </a:r>
          <a:endParaRPr lang="ru-RU" sz="1600" u="none" kern="1200" dirty="0"/>
        </a:p>
        <a:p>
          <a:pPr marL="354013" lvl="2" indent="546100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Указывается количество листов приложений</a:t>
          </a:r>
          <a:endParaRPr lang="ru-RU" sz="1600" u="none" kern="1200" dirty="0"/>
        </a:p>
        <a:p>
          <a:pPr marL="354013" lvl="2" indent="546100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Подписывается руководителем организации</a:t>
          </a:r>
          <a:endParaRPr lang="ru-RU" sz="1600" u="none" kern="1200" dirty="0"/>
        </a:p>
        <a:p>
          <a:pPr marL="354013" lvl="2" indent="546100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Содержит выходные сведения (дата, регистрационный номер ). </a:t>
          </a:r>
          <a:endParaRPr lang="ru-RU" sz="1600" u="none" kern="1200" dirty="0"/>
        </a:p>
        <a:p>
          <a:pPr marL="274638" lvl="1" indent="-103188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В Правительство области направляется единый от организации комплект материалов:</a:t>
          </a:r>
          <a:endParaRPr lang="ru-RU" sz="1600" u="none" kern="1200" dirty="0"/>
        </a:p>
        <a:p>
          <a:pPr marL="900113" lvl="2" indent="-93663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списки претендентов</a:t>
          </a:r>
          <a:endParaRPr lang="ru-RU" sz="1600" u="none" kern="1200" dirty="0"/>
        </a:p>
        <a:p>
          <a:pPr marL="900113" lvl="2" indent="-93663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описания достижений (без приложения подтверждающих документов)</a:t>
          </a:r>
          <a:endParaRPr lang="ru-RU" sz="1600" u="none" kern="1200" dirty="0"/>
        </a:p>
        <a:p>
          <a:pPr marL="900113" lvl="2" indent="-93663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сопроводительное </a:t>
          </a:r>
          <a:r>
            <a:rPr lang="en-US" sz="1600" u="none" kern="1200" dirty="0" smtClean="0"/>
            <a:t> </a:t>
          </a:r>
          <a:r>
            <a:rPr lang="ru-RU" sz="1600" u="none" kern="1200" dirty="0" smtClean="0"/>
            <a:t>письмо - официально (через курьера), подлежит регистрации входящих документов в Правительстве области.</a:t>
          </a:r>
          <a:endParaRPr lang="ru-RU" sz="1600" u="none" kern="1200" dirty="0"/>
        </a:p>
        <a:p>
          <a:pPr marL="365125" lvl="1" indent="-193675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/>
            <a:t> Электронная версия списков в формате </a:t>
          </a:r>
          <a:r>
            <a:rPr lang="en-US" sz="1600" u="none" kern="1200" dirty="0" smtClean="0"/>
            <a:t>Word </a:t>
          </a:r>
          <a:r>
            <a:rPr lang="ru-RU" sz="1600" u="none" kern="1200" dirty="0" smtClean="0"/>
            <a:t>направляется</a:t>
          </a:r>
          <a:r>
            <a:rPr lang="en-US" sz="1600" u="none" kern="1200" dirty="0" smtClean="0"/>
            <a:t> </a:t>
          </a:r>
          <a:r>
            <a:rPr lang="ru-RU" sz="1600" u="none" kern="1200" dirty="0" smtClean="0"/>
            <a:t>на электронный адрес </a:t>
          </a:r>
          <a:r>
            <a:rPr lang="en-US" sz="1600" u="none" kern="1200" dirty="0" smtClean="0">
              <a:solidFill>
                <a:schemeClr val="tx2">
                  <a:lumMod val="60000"/>
                  <a:lumOff val="40000"/>
                </a:schemeClr>
              </a:solidFill>
              <a:hlinkClick xmlns:r="http://schemas.openxmlformats.org/officeDocument/2006/relationships" r:id="rId1"/>
            </a:rPr>
            <a:t>lohanina@yarregion.ru</a:t>
          </a:r>
          <a:endParaRPr lang="ru-RU" sz="1600" u="none" kern="1200" dirty="0">
            <a:solidFill>
              <a:schemeClr val="tx2">
                <a:lumMod val="60000"/>
                <a:lumOff val="40000"/>
              </a:schemeClr>
            </a:solidFill>
          </a:endParaRPr>
        </a:p>
        <a:p>
          <a:pPr marL="365125" lvl="1" indent="-193675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u="none" kern="1200" dirty="0" smtClean="0">
              <a:solidFill>
                <a:schemeClr val="tx1"/>
              </a:solidFill>
            </a:rPr>
            <a:t> Срок представления материалов в Правительство области по 08 сентября 2017 года до 15.00 (с учетом графика рабочих дней и для обеспечения регистрации входящей корреспонденции до окончания дня)</a:t>
          </a:r>
          <a:endParaRPr lang="ru-RU" sz="1600" u="none" kern="1200" dirty="0">
            <a:solidFill>
              <a:schemeClr val="tx1"/>
            </a:solidFill>
          </a:endParaRPr>
        </a:p>
      </dsp:txBody>
      <dsp:txXfrm>
        <a:off x="0" y="538725"/>
        <a:ext cx="8280918" cy="4285185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50039" y="0"/>
          <a:ext cx="7518912" cy="1776357"/>
        </a:xfrm>
        <a:prstGeom prst="rightArrow">
          <a:avLst>
            <a:gd name="adj1" fmla="val 50000"/>
            <a:gd name="adj2" fmla="val 50000"/>
          </a:avLst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baseline="0" dirty="0" smtClean="0"/>
            <a:t>Оформление получателями заявлений на обработку персональных данных и направление комплекта материалов в Правительство области</a:t>
          </a:r>
          <a:endParaRPr lang="ru-RU" sz="1800" b="1" kern="1200" dirty="0"/>
        </a:p>
      </dsp:txBody>
      <dsp:txXfrm>
        <a:off x="1050039" y="444089"/>
        <a:ext cx="7074823" cy="888179"/>
      </dsp:txXfrm>
    </dsp:sp>
    <dsp:sp modelId="{EA120FCF-C6AA-4B87-877E-5992B78CA861}">
      <dsp:nvSpPr>
        <dsp:cNvPr id="0" name=""/>
        <dsp:cNvSpPr/>
      </dsp:nvSpPr>
      <dsp:spPr>
        <a:xfrm>
          <a:off x="287998" y="540069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4 этап</a:t>
          </a:r>
          <a:endParaRPr lang="ru-RU" sz="2000" b="1" kern="1200" dirty="0"/>
        </a:p>
      </dsp:txBody>
      <dsp:txXfrm>
        <a:off x="287998" y="540069"/>
        <a:ext cx="766359" cy="698492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3B2CDF-8148-4F86-AD92-50484BF3B5B2}">
      <dsp:nvSpPr>
        <dsp:cNvPr id="0" name=""/>
        <dsp:cNvSpPr/>
      </dsp:nvSpPr>
      <dsp:spPr>
        <a:xfrm>
          <a:off x="0" y="9445"/>
          <a:ext cx="8280918" cy="509990"/>
        </a:xfrm>
        <a:prstGeom prst="roundRect">
          <a:avLst/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формление заявления</a:t>
          </a:r>
          <a:endParaRPr lang="ru-RU" sz="1800" b="1" kern="1200" dirty="0"/>
        </a:p>
      </dsp:txBody>
      <dsp:txXfrm>
        <a:off x="24896" y="34341"/>
        <a:ext cx="8231126" cy="460198"/>
      </dsp:txXfrm>
    </dsp:sp>
    <dsp:sp modelId="{ADFE0003-C8E2-43A7-AD91-A4F84F7F4205}">
      <dsp:nvSpPr>
        <dsp:cNvPr id="0" name=""/>
        <dsp:cNvSpPr/>
      </dsp:nvSpPr>
      <dsp:spPr>
        <a:xfrm>
          <a:off x="0" y="528674"/>
          <a:ext cx="8280918" cy="12161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kern="1200" dirty="0" smtClean="0"/>
            <a:t>Заполняется в строгом соответствии с установленной формой </a:t>
          </a:r>
          <a:r>
            <a:rPr lang="ru-RU" sz="1600" kern="1200" dirty="0" smtClean="0"/>
            <a:t>заявления (приложение 2 к Положению)</a:t>
          </a:r>
          <a:endParaRPr lang="ru-RU" sz="1600" kern="1200" dirty="0"/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kern="1200" dirty="0" smtClean="0"/>
            <a:t>К заявлению прилагается информация </a:t>
          </a:r>
          <a:r>
            <a:rPr lang="ru-RU" sz="1600" kern="1200" dirty="0" smtClean="0"/>
            <a:t>о счете </a:t>
          </a:r>
          <a:r>
            <a:rPr lang="ru-RU" sz="1600" kern="1200" dirty="0" smtClean="0"/>
            <a:t>с реквизитами банка</a:t>
          </a:r>
          <a:endParaRPr lang="ru-RU" sz="1600" kern="1200" dirty="0"/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kern="1200" dirty="0" smtClean="0"/>
            <a:t>Заявление с приложением передается ответственному за сбор информации в организации</a:t>
          </a:r>
          <a:endParaRPr lang="ru-RU" sz="1600" kern="1200" dirty="0"/>
        </a:p>
      </dsp:txBody>
      <dsp:txXfrm>
        <a:off x="0" y="528674"/>
        <a:ext cx="8280918" cy="1216125"/>
      </dsp:txXfrm>
    </dsp:sp>
    <dsp:sp modelId="{3EAB8B24-2344-4065-A96B-6F9A22FD586E}">
      <dsp:nvSpPr>
        <dsp:cNvPr id="0" name=""/>
        <dsp:cNvSpPr/>
      </dsp:nvSpPr>
      <dsp:spPr>
        <a:xfrm>
          <a:off x="0" y="1735560"/>
          <a:ext cx="8280918" cy="479292"/>
        </a:xfrm>
        <a:prstGeom prst="roundRect">
          <a:avLst/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Проверка информации о </a:t>
          </a:r>
          <a:r>
            <a:rPr lang="ru-RU" sz="1800" b="1" kern="1200" dirty="0" smtClean="0"/>
            <a:t>получателях ответственным сотрудником в организации</a:t>
          </a:r>
          <a:endParaRPr lang="ru-RU" sz="1800" b="1" kern="1200" dirty="0"/>
        </a:p>
      </dsp:txBody>
      <dsp:txXfrm>
        <a:off x="23397" y="1758957"/>
        <a:ext cx="8234124" cy="432498"/>
      </dsp:txXfrm>
    </dsp:sp>
    <dsp:sp modelId="{98718955-CD62-4459-9D71-3BB2AACDDFFC}">
      <dsp:nvSpPr>
        <dsp:cNvPr id="0" name=""/>
        <dsp:cNvSpPr/>
      </dsp:nvSpPr>
      <dsp:spPr>
        <a:xfrm>
          <a:off x="0" y="2229758"/>
          <a:ext cx="8280918" cy="11431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600" kern="1200" dirty="0" smtClean="0"/>
            <a:t>Полнота сведений в заявлении (без ИНН не принимается)</a:t>
          </a:r>
          <a:endParaRPr lang="ru-RU" sz="1600" kern="1200" dirty="0"/>
        </a:p>
        <a:p>
          <a:pPr marL="171450" lvl="1" indent="-171450" algn="just" defTabSz="7112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600" kern="1200" dirty="0" smtClean="0"/>
            <a:t>Требования к представлению </a:t>
          </a:r>
          <a:r>
            <a:rPr lang="ru-RU" sz="1600" kern="1200" dirty="0" smtClean="0"/>
            <a:t>данных о </a:t>
          </a:r>
          <a:r>
            <a:rPr lang="ru-RU" sz="1600" kern="1200" dirty="0" smtClean="0"/>
            <a:t>счете (справка </a:t>
          </a:r>
          <a:r>
            <a:rPr lang="ru-RU" sz="1600" kern="1200" dirty="0" smtClean="0"/>
            <a:t>банка </a:t>
          </a:r>
          <a:r>
            <a:rPr lang="ru-RU" sz="1600" kern="1200" dirty="0" smtClean="0"/>
            <a:t>с печатью; если документ оформлен в произвольной форме с указанием данных стипендиальной карты, то необходимо сведения заверить подписью </a:t>
          </a:r>
          <a:r>
            <a:rPr lang="ru-RU" sz="1600" kern="1200" dirty="0" smtClean="0"/>
            <a:t>уполномоченного сотрудника образовательной организации)</a:t>
          </a:r>
          <a:endParaRPr lang="ru-RU" sz="1600" kern="1200" dirty="0"/>
        </a:p>
      </dsp:txBody>
      <dsp:txXfrm>
        <a:off x="0" y="2229758"/>
        <a:ext cx="8280918" cy="1143157"/>
      </dsp:txXfrm>
    </dsp:sp>
    <dsp:sp modelId="{CA61448B-664B-4DF0-B2E4-899D5E92BDBA}">
      <dsp:nvSpPr>
        <dsp:cNvPr id="0" name=""/>
        <dsp:cNvSpPr/>
      </dsp:nvSpPr>
      <dsp:spPr>
        <a:xfrm>
          <a:off x="0" y="3393051"/>
          <a:ext cx="8280918" cy="438635"/>
        </a:xfrm>
        <a:prstGeom prst="roundRect">
          <a:avLst/>
        </a:prstGeom>
        <a:solidFill>
          <a:srgbClr val="E2A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Направление комплекта заявлений в Правительство области</a:t>
          </a:r>
          <a:endParaRPr lang="ru-RU" sz="1800" b="1" kern="1200" dirty="0"/>
        </a:p>
      </dsp:txBody>
      <dsp:txXfrm>
        <a:off x="21412" y="3414463"/>
        <a:ext cx="8238094" cy="395811"/>
      </dsp:txXfrm>
    </dsp:sp>
    <dsp:sp modelId="{038F022C-FCB0-43DE-9515-DAFBE34F99A9}">
      <dsp:nvSpPr>
        <dsp:cNvPr id="0" name=""/>
        <dsp:cNvSpPr/>
      </dsp:nvSpPr>
      <dsp:spPr>
        <a:xfrm>
          <a:off x="0" y="3806092"/>
          <a:ext cx="8280918" cy="7783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20320" rIns="113792" bIns="20320" numCol="1" spcCol="1270" anchor="t" anchorCtr="0">
          <a:noAutofit/>
        </a:bodyPr>
        <a:lstStyle/>
        <a:p>
          <a:pPr marL="171450" lvl="1" indent="-171450" algn="just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600" kern="1200" dirty="0" smtClean="0"/>
            <a:t>Заявления получателей в полном комплекте от организации передаются уполномоченным </a:t>
          </a:r>
          <a:r>
            <a:rPr lang="ru-RU" sz="1600" kern="1200" dirty="0" smtClean="0"/>
            <a:t>сотрудником лично уполномоченному сотруднику Правительства области</a:t>
          </a:r>
          <a:endParaRPr lang="ru-RU" sz="1600" kern="1200" dirty="0"/>
        </a:p>
      </dsp:txBody>
      <dsp:txXfrm>
        <a:off x="0" y="3806092"/>
        <a:ext cx="8280918" cy="7783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08137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оздание организационных предпосылок внутреннего отбора </a:t>
          </a:r>
          <a:endParaRPr lang="ru-RU" sz="1800" b="1" kern="1200" dirty="0"/>
        </a:p>
      </dsp:txBody>
      <dsp:txXfrm>
        <a:off x="1008137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71979" y="261699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1 этап</a:t>
          </a:r>
          <a:endParaRPr lang="ru-RU" sz="2000" b="1" kern="1200" dirty="0"/>
        </a:p>
      </dsp:txBody>
      <dsp:txXfrm>
        <a:off x="71979" y="261699"/>
        <a:ext cx="766359" cy="6984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BC968D-C54B-4D9F-A69C-CFEB382E8E02}">
      <dsp:nvSpPr>
        <dsp:cNvPr id="0" name=""/>
        <dsp:cNvSpPr/>
      </dsp:nvSpPr>
      <dsp:spPr>
        <a:xfrm>
          <a:off x="0" y="286652"/>
          <a:ext cx="6792416" cy="6563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Определение ответственного исполнителя, координаторов по целевым группам, технических исполнителей</a:t>
          </a:r>
          <a:endParaRPr lang="ru-RU" sz="1700" b="1" kern="1200" dirty="0"/>
        </a:p>
      </dsp:txBody>
      <dsp:txXfrm>
        <a:off x="32041" y="318693"/>
        <a:ext cx="6728334" cy="592288"/>
      </dsp:txXfrm>
    </dsp:sp>
    <dsp:sp modelId="{FEDA5A92-700A-4323-B15D-EB262C851A0B}">
      <dsp:nvSpPr>
        <dsp:cNvPr id="0" name=""/>
        <dsp:cNvSpPr/>
      </dsp:nvSpPr>
      <dsp:spPr>
        <a:xfrm>
          <a:off x="0" y="943022"/>
          <a:ext cx="6792416" cy="448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659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Общая организация и координация работ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Владение нормативной  правовой информацией  </a:t>
          </a:r>
          <a:endParaRPr lang="ru-RU" sz="1400" kern="1200" dirty="0"/>
        </a:p>
      </dsp:txBody>
      <dsp:txXfrm>
        <a:off x="0" y="943022"/>
        <a:ext cx="6792416" cy="448672"/>
      </dsp:txXfrm>
    </dsp:sp>
    <dsp:sp modelId="{7357F823-3EF2-48AA-B950-1CED0EF8699B}">
      <dsp:nvSpPr>
        <dsp:cNvPr id="0" name=""/>
        <dsp:cNvSpPr/>
      </dsp:nvSpPr>
      <dsp:spPr>
        <a:xfrm>
          <a:off x="0" y="1391694"/>
          <a:ext cx="6792416" cy="6563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Разработка внутреннего положения     (нормативного акта)</a:t>
          </a:r>
          <a:endParaRPr lang="ru-RU" sz="1700" b="1" kern="1200" dirty="0"/>
        </a:p>
      </dsp:txBody>
      <dsp:txXfrm>
        <a:off x="32041" y="1423735"/>
        <a:ext cx="6728334" cy="592288"/>
      </dsp:txXfrm>
    </dsp:sp>
    <dsp:sp modelId="{A000B9C9-2811-4C55-817A-6F9D2B35DEEC}">
      <dsp:nvSpPr>
        <dsp:cNvPr id="0" name=""/>
        <dsp:cNvSpPr/>
      </dsp:nvSpPr>
      <dsp:spPr>
        <a:xfrm>
          <a:off x="0" y="2048064"/>
          <a:ext cx="6792416" cy="448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659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Критерии отбора (п.3.7 Положения)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Определение уполномоченного органа по отбору (п. 3.8 Положения)</a:t>
          </a:r>
          <a:endParaRPr lang="ru-RU" sz="1400" kern="1200" dirty="0"/>
        </a:p>
      </dsp:txBody>
      <dsp:txXfrm>
        <a:off x="0" y="2048064"/>
        <a:ext cx="6792416" cy="448672"/>
      </dsp:txXfrm>
    </dsp:sp>
    <dsp:sp modelId="{69D7501D-8E94-4402-A5F4-A49431A6B1D1}">
      <dsp:nvSpPr>
        <dsp:cNvPr id="0" name=""/>
        <dsp:cNvSpPr/>
      </dsp:nvSpPr>
      <dsp:spPr>
        <a:xfrm>
          <a:off x="0" y="2496737"/>
          <a:ext cx="6792416" cy="6563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Информирование студентов, аспирантов, ординаторов</a:t>
          </a:r>
          <a:endParaRPr lang="ru-RU" sz="1700" b="1" kern="1200" dirty="0"/>
        </a:p>
      </dsp:txBody>
      <dsp:txXfrm>
        <a:off x="32041" y="2528778"/>
        <a:ext cx="6728334" cy="592288"/>
      </dsp:txXfrm>
    </dsp:sp>
    <dsp:sp modelId="{87922381-3953-46DD-8E39-AE9F47D338CA}">
      <dsp:nvSpPr>
        <dsp:cNvPr id="0" name=""/>
        <dsp:cNvSpPr/>
      </dsp:nvSpPr>
      <dsp:spPr>
        <a:xfrm>
          <a:off x="0" y="3153107"/>
          <a:ext cx="6792416" cy="4486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659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Широта, доступность, открытость информации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400" kern="1200" dirty="0" smtClean="0"/>
            <a:t>Консультирование, обратная связь</a:t>
          </a:r>
          <a:endParaRPr lang="ru-RU" sz="1400" kern="1200" dirty="0"/>
        </a:p>
      </dsp:txBody>
      <dsp:txXfrm>
        <a:off x="0" y="3153107"/>
        <a:ext cx="6792416" cy="4486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бор информации от претендентов, проведение внутреннего конкурсного отбора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2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BC968D-C54B-4D9F-A69C-CFEB382E8E02}">
      <dsp:nvSpPr>
        <dsp:cNvPr id="0" name=""/>
        <dsp:cNvSpPr/>
      </dsp:nvSpPr>
      <dsp:spPr>
        <a:xfrm>
          <a:off x="0" y="4378"/>
          <a:ext cx="8280918" cy="347490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Соблюдение условий участия в конкурсном отборе</a:t>
          </a:r>
          <a:endParaRPr lang="ru-RU" sz="1400" b="1" kern="1200" dirty="0"/>
        </a:p>
      </dsp:txBody>
      <dsp:txXfrm>
        <a:off x="16963" y="21341"/>
        <a:ext cx="8246992" cy="313564"/>
      </dsp:txXfrm>
    </dsp:sp>
    <dsp:sp modelId="{FEDA5A92-700A-4323-B15D-EB262C851A0B}">
      <dsp:nvSpPr>
        <dsp:cNvPr id="0" name=""/>
        <dsp:cNvSpPr/>
      </dsp:nvSpPr>
      <dsp:spPr>
        <a:xfrm>
          <a:off x="0" y="351868"/>
          <a:ext cx="8280918" cy="2012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15240" rIns="85344" bIns="15240" numCol="1" spcCol="1270" anchor="t" anchorCtr="0">
          <a:noAutofit/>
        </a:bodyPr>
        <a:lstStyle/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Статус претендента</a:t>
          </a:r>
          <a:endParaRPr lang="ru-RU" sz="1200" kern="1200" dirty="0"/>
        </a:p>
        <a:p>
          <a:pPr marL="447675" lvl="2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200" kern="1200" dirty="0" smtClean="0"/>
            <a:t>обучение </a:t>
          </a:r>
          <a:r>
            <a:rPr lang="ru-RU" sz="1200" kern="1200" dirty="0" smtClean="0"/>
            <a:t>по программе высшего образования данного уровня впервые по очной форме</a:t>
          </a:r>
          <a:endParaRPr lang="ru-RU" sz="1200" kern="1200" dirty="0"/>
        </a:p>
        <a:p>
          <a:pPr marL="447675" lvl="2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200" kern="1200" dirty="0" smtClean="0"/>
            <a:t>при обучении по двум и более программам : представительство от одной образовательной организации/ более высокий уровень / курс</a:t>
          </a:r>
          <a:endParaRPr lang="ru-RU" sz="1200" kern="1200" dirty="0"/>
        </a:p>
        <a:p>
          <a:pPr marL="447675" lvl="2" indent="0" algn="l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ru-RU" sz="1200" kern="1200" dirty="0" smtClean="0"/>
            <a:t>соответствие  </a:t>
          </a:r>
          <a:r>
            <a:rPr lang="ru-RU" sz="1200" kern="1200" dirty="0" smtClean="0"/>
            <a:t>категории «молодежь»</a:t>
          </a:r>
          <a:endParaRPr lang="ru-RU" sz="1200" kern="1200" dirty="0"/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Наличие у программы гос. аккредитации </a:t>
          </a:r>
          <a:endParaRPr lang="ru-RU" sz="1200" kern="1200" dirty="0"/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Успеваемость в 2016/2017 учебном году</a:t>
          </a:r>
          <a:endParaRPr lang="ru-RU" sz="1200" kern="1200" dirty="0"/>
        </a:p>
        <a:p>
          <a:pPr marL="441325" lvl="2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требования к уровню оценок</a:t>
          </a:r>
          <a:endParaRPr lang="ru-RU" sz="1200" kern="1200" dirty="0"/>
        </a:p>
        <a:p>
          <a:pPr marL="441325" lvl="2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отсутствие неудовлетворительных оценок</a:t>
          </a:r>
          <a:endParaRPr lang="ru-RU" sz="1200" kern="1200" dirty="0"/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Договор о целевом обучении (ординаторы)</a:t>
          </a:r>
          <a:endParaRPr lang="ru-RU" sz="1200" kern="1200" dirty="0"/>
        </a:p>
        <a:p>
          <a:pPr marL="114300" lvl="1" indent="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Наличие программы в перечне приоритетных программ (для двух видов стипендий)</a:t>
          </a:r>
          <a:endParaRPr lang="ru-RU" sz="1200" kern="1200" dirty="0"/>
        </a:p>
      </dsp:txBody>
      <dsp:txXfrm>
        <a:off x="0" y="351868"/>
        <a:ext cx="8280918" cy="2012040"/>
      </dsp:txXfrm>
    </dsp:sp>
    <dsp:sp modelId="{7357F823-3EF2-48AA-B950-1CED0EF8699B}">
      <dsp:nvSpPr>
        <dsp:cNvPr id="0" name=""/>
        <dsp:cNvSpPr/>
      </dsp:nvSpPr>
      <dsp:spPr>
        <a:xfrm>
          <a:off x="0" y="2340149"/>
          <a:ext cx="8280918" cy="347490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формление заявки претендентами</a:t>
          </a:r>
          <a:endParaRPr lang="ru-RU" sz="1400" b="1" kern="1200" dirty="0"/>
        </a:p>
      </dsp:txBody>
      <dsp:txXfrm>
        <a:off x="16963" y="2357112"/>
        <a:ext cx="8246992" cy="313564"/>
      </dsp:txXfrm>
    </dsp:sp>
    <dsp:sp modelId="{A000B9C9-2811-4C55-817A-6F9D2B35DEEC}">
      <dsp:nvSpPr>
        <dsp:cNvPr id="0" name=""/>
        <dsp:cNvSpPr/>
      </dsp:nvSpPr>
      <dsp:spPr>
        <a:xfrm>
          <a:off x="0" y="2687637"/>
          <a:ext cx="8280918" cy="8942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Описание достижений по установленной форме  без сокращений (приложения к спискам – к формам 1-6</a:t>
          </a:r>
          <a:r>
            <a:rPr lang="ru-RU" sz="1200" kern="1200" dirty="0" smtClean="0"/>
            <a:t>) в полном соответствии с подтверждающим документом с соблюдением последовательности указанных в подстрочникам позиций необходимой информации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Документальное подтверждение достижений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Личная подпись претендента и дата представления в организацию</a:t>
          </a:r>
          <a:endParaRPr lang="ru-RU" sz="1200" kern="1200" dirty="0"/>
        </a:p>
      </dsp:txBody>
      <dsp:txXfrm>
        <a:off x="0" y="2687637"/>
        <a:ext cx="8280918" cy="894240"/>
      </dsp:txXfrm>
    </dsp:sp>
    <dsp:sp modelId="{69D7501D-8E94-4402-A5F4-A49431A6B1D1}">
      <dsp:nvSpPr>
        <dsp:cNvPr id="0" name=""/>
        <dsp:cNvSpPr/>
      </dsp:nvSpPr>
      <dsp:spPr>
        <a:xfrm>
          <a:off x="0" y="3598304"/>
          <a:ext cx="8280918" cy="347490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/>
            <a:t>Конкурсный отбор </a:t>
          </a:r>
          <a:r>
            <a:rPr lang="ru-RU" sz="1400" b="1" kern="1200" dirty="0" smtClean="0"/>
            <a:t>претендентов</a:t>
          </a:r>
          <a:endParaRPr lang="ru-RU" sz="1500" b="1" kern="1200" dirty="0"/>
        </a:p>
      </dsp:txBody>
      <dsp:txXfrm>
        <a:off x="16963" y="3615267"/>
        <a:ext cx="8246992" cy="313564"/>
      </dsp:txXfrm>
    </dsp:sp>
    <dsp:sp modelId="{87922381-3953-46DD-8E39-AE9F47D338CA}">
      <dsp:nvSpPr>
        <dsp:cNvPr id="0" name=""/>
        <dsp:cNvSpPr/>
      </dsp:nvSpPr>
      <dsp:spPr>
        <a:xfrm>
          <a:off x="0" y="3953129"/>
          <a:ext cx="8280918" cy="11550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291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Анализ представленной информации</a:t>
          </a:r>
          <a:endParaRPr lang="ru-RU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роверка соблюдения условий участия  и требований п.3.5 Положения</a:t>
          </a:r>
          <a:endParaRPr lang="ru-RU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проверка достижений на соответствие предусмотренным критериям и зачетным периодам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Ранжирование претендентов по правилам Положения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Формирование списка с учетом требований к количеству и конкурентоспособности претендентов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 smtClean="0"/>
            <a:t>Утверждение списка претендентов уполномоченным органом</a:t>
          </a:r>
          <a:endParaRPr lang="ru-RU" sz="1200" kern="1200" dirty="0"/>
        </a:p>
      </dsp:txBody>
      <dsp:txXfrm>
        <a:off x="0" y="3953129"/>
        <a:ext cx="8280918" cy="115506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бор информации от претендентов, проведение внутреннего конкурсного отбора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2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57F823-3EF2-48AA-B950-1CED0EF8699B}">
      <dsp:nvSpPr>
        <dsp:cNvPr id="0" name=""/>
        <dsp:cNvSpPr/>
      </dsp:nvSpPr>
      <dsp:spPr>
        <a:xfrm>
          <a:off x="0" y="0"/>
          <a:ext cx="8280918" cy="421739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Оформление заявки претендентами</a:t>
          </a:r>
          <a:endParaRPr lang="ru-RU" sz="1800" b="1" kern="1200" dirty="0"/>
        </a:p>
      </dsp:txBody>
      <dsp:txXfrm>
        <a:off x="20588" y="20588"/>
        <a:ext cx="8239742" cy="380563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9A45E8-9114-46B8-ABB1-C5D4B5041A75}">
      <dsp:nvSpPr>
        <dsp:cNvPr id="0" name=""/>
        <dsp:cNvSpPr/>
      </dsp:nvSpPr>
      <dsp:spPr>
        <a:xfrm>
          <a:off x="1080116" y="0"/>
          <a:ext cx="7170670" cy="1247985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98118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/>
            <a:t>Сбор информации от претендентов, проведение внутреннего конкурсного отбора</a:t>
          </a:r>
          <a:endParaRPr lang="ru-RU" sz="1800" b="1" kern="1200" dirty="0"/>
        </a:p>
      </dsp:txBody>
      <dsp:txXfrm>
        <a:off x="1080116" y="311996"/>
        <a:ext cx="6858674" cy="623993"/>
      </dsp:txXfrm>
    </dsp:sp>
    <dsp:sp modelId="{EA120FCF-C6AA-4B87-877E-5992B78CA861}">
      <dsp:nvSpPr>
        <dsp:cNvPr id="0" name=""/>
        <dsp:cNvSpPr/>
      </dsp:nvSpPr>
      <dsp:spPr>
        <a:xfrm>
          <a:off x="287998" y="288034"/>
          <a:ext cx="766359" cy="69849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2 этап</a:t>
          </a:r>
          <a:endParaRPr lang="ru-RU" sz="2000" b="1" kern="1200" dirty="0"/>
        </a:p>
      </dsp:txBody>
      <dsp:txXfrm>
        <a:off x="287998" y="288034"/>
        <a:ext cx="766359" cy="6984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9/3/layout/PieProcess">
  <dgm:title val=""/>
  <dgm:desc val=""/>
  <dgm:catLst>
    <dgm:cat type="list" pri="8600"/>
    <dgm:cat type="process" pri="4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</dgm:alg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w" for="ch" forName="ParentComposite" refType="w" fact="0.5"/>
      <dgm:constr type="h" for="ch" forName="ParentComposite" refType="h"/>
      <dgm:constr type="w" for="ch" forName="negSibTrans" refType="h" refFor="ch" refForName="composite" fact="-0.075"/>
      <dgm:constr type="w" for="ch" forName="sibTrans" refType="w" refFor="ch" refForName="composite" fact="0.0425"/>
    </dgm:constrLst>
    <dgm:forEach name="nodesForEach" axis="ch" ptType="node" cnt="7">
      <dgm:layoutNode name="ParentComposite">
        <dgm:alg type="composite">
          <dgm:param type="ar" val="0.25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Parent" refType="w" fact="0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l" for="ch" forName="Chord" refType="w" fact="0"/>
              <dgm:constr type="t" for="ch" forName="Chord" refType="h" fact="0"/>
              <dgm:constr type="w" for="ch" forName="Chord" refType="w"/>
              <dgm:constr type="h" for="ch" forName="Chord" refType="h" fact="0.25"/>
              <dgm:constr type="l" for="ch" forName="Pie" refType="w" fact="0.1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if>
          <dgm:else name="Name6">
            <dgm:constrLst>
              <dgm:constr type="r" for="ch" forName="Parent" refType="w"/>
              <dgm:constr type="t" for="ch" forName="Parent" refType="h" fact="0.275"/>
              <dgm:constr type="w" for="ch" forName="Parent" refType="w" fact="0.6"/>
              <dgm:constr type="h" for="ch" forName="Parent" refType="h" fact="0.725"/>
              <dgm:constr type="r" for="ch" forName="Chord" refType="w"/>
              <dgm:constr type="t" for="ch" forName="Chord" refType="h" fact="0"/>
              <dgm:constr type="w" for="ch" forName="Chord" refType="w"/>
              <dgm:constr type="h" for="ch" forName="Chord" refType="h" fact="0.25"/>
              <dgm:constr type="r" for="ch" forName="Pie" refType="w" fact="0.9"/>
              <dgm:constr type="t" for="ch" forName="Pie" refType="h" fact="0.025"/>
              <dgm:constr type="w" for="ch" forName="Pie" refType="w" fact="0.8"/>
              <dgm:constr type="h" for="ch" forName="Pie" refType="h" fact="0.2"/>
            </dgm:constrLst>
          </dgm:else>
        </dgm:choose>
        <dgm:layoutNode name="Chord" styleLbl="bgShp">
          <dgm:alg type="sp"/>
          <dgm:choose name="Name7">
            <dgm:if name="Name8" func="var" arg="dir" op="equ" val="norm">
              <dgm:shape xmlns:r="http://schemas.openxmlformats.org/officeDocument/2006/relationships" type="chord" r:blip="">
                <dgm:adjLst>
                  <dgm:adj idx="1" val="80"/>
                  <dgm:adj idx="2" val="-80"/>
                </dgm:adjLst>
              </dgm:shape>
            </dgm:if>
            <dgm:else name="Name9">
              <dgm:shape xmlns:r="http://schemas.openxmlformats.org/officeDocument/2006/relationships" rot="180" type="chord" r:blip="">
                <dgm:adjLst>
                  <dgm:adj idx="1" val="80"/>
                  <dgm:adj idx="2" val="-80"/>
                </dgm:adjLst>
              </dgm:shape>
            </dgm:else>
          </dgm:choose>
          <dgm:presOf/>
        </dgm:layoutNode>
        <dgm:layoutNode name="Pie" styleLbl="alignNode1">
          <dgm:alg type="sp"/>
          <dgm:choose name="Name10">
            <dgm:if name="Name11" func="var" arg="dir" op="equ" val="norm">
              <dgm:choose name="Name12">
                <dgm:if name="Name13" axis="precedSib" ptType="node" func="cnt" op="equ" val="0">
                  <dgm:choose name="Name14">
                    <dgm:if name="Name1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1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17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if name="Name18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35"/>
                          <dgm:adj idx="2" val="-90"/>
                        </dgm:adjLst>
                      </dgm:shape>
                    </dgm:if>
                    <dgm:if name="Name19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26"/>
                          <dgm:adj idx="2" val="-90"/>
                        </dgm:adjLst>
                      </dgm:shape>
                    </dgm:if>
                    <dgm:if name="Name20" axis="followSib" ptType="node" func="cnt" op="equ" val="5">
                      <dgm:shape xmlns:r="http://schemas.openxmlformats.org/officeDocument/2006/relationships" type="pie" r:blip="">
                        <dgm:adjLst>
                          <dgm:adj idx="1" val="-120"/>
                          <dgm:adj idx="2" val="-90"/>
                        </dgm:adjLst>
                      </dgm:shape>
                    </dgm:if>
                    <dgm:else name="Name21">
                      <dgm:shape xmlns:r="http://schemas.openxmlformats.org/officeDocument/2006/relationships" type="pie" r:blip="">
                        <dgm:adjLst>
                          <dgm:adj idx="1" val="-115.7143"/>
                          <dgm:adj idx="2" val="-90"/>
                        </dgm:adjLst>
                      </dgm:shape>
                    </dgm:else>
                  </dgm:choose>
                </dgm:if>
                <dgm:if name="Name22" axis="precedSib" ptType="node" func="cnt" op="equ" val="1">
                  <dgm:choose name="Name23">
                    <dgm:if name="Name24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25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if name="Name26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if name="Name27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-162"/>
                          <dgm:adj idx="2" val="-90"/>
                        </dgm:adjLst>
                      </dgm:shape>
                    </dgm:if>
                    <dgm:if name="Name28" axis="followSib" ptType="node" func="cnt" op="equ" val="4">
                      <dgm:shape xmlns:r="http://schemas.openxmlformats.org/officeDocument/2006/relationships" type="pie" r:blip="">
                        <dgm:adjLst>
                          <dgm:adj idx="1" val="-150"/>
                          <dgm:adj idx="2" val="-90"/>
                        </dgm:adjLst>
                      </dgm:shape>
                    </dgm:if>
                    <dgm:else name="Name29">
                      <dgm:shape xmlns:r="http://schemas.openxmlformats.org/officeDocument/2006/relationships" type="pie" r:blip="">
                        <dgm:adjLst>
                          <dgm:adj idx="1" val="-141.4286"/>
                          <dgm:adj idx="2" val="-90"/>
                        </dgm:adjLst>
                      </dgm:shape>
                    </dgm:else>
                  </dgm:choose>
                </dgm:if>
                <dgm:if name="Name30" axis="precedSib" ptType="node" func="cnt" op="equ" val="2">
                  <dgm:choose name="Name31">
                    <dgm:if name="Name32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33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35"/>
                          <dgm:adj idx="2" val="-90"/>
                        </dgm:adjLst>
                      </dgm:shape>
                    </dgm:if>
                    <dgm:if name="Name34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62"/>
                          <dgm:adj idx="2" val="-90"/>
                        </dgm:adjLst>
                      </dgm:shape>
                    </dgm:if>
                    <dgm:if name="Name35" axis="followSib" ptType="node" func="cnt" op="equ" val="3">
                      <dgm:shape xmlns:r="http://schemas.openxmlformats.org/officeDocument/2006/relationships" type="pie" r:blip="">
                        <dgm:adjLst>
                          <dgm:adj idx="1" val="180"/>
                          <dgm:adj idx="2" val="-90"/>
                        </dgm:adjLst>
                      </dgm:shape>
                    </dgm:if>
                    <dgm:else name="Name36">
                      <dgm:shape xmlns:r="http://schemas.openxmlformats.org/officeDocument/2006/relationships" type="pie" r:blip="">
                        <dgm:adjLst>
                          <dgm:adj idx="1" val="-167.1429"/>
                          <dgm:adj idx="2" val="-90"/>
                        </dgm:adjLst>
                      </dgm:shape>
                    </dgm:else>
                  </dgm:choose>
                </dgm:if>
                <dgm:if name="Name37" axis="precedSib" ptType="node" func="cnt" op="equ" val="3">
                  <dgm:choose name="Name38">
                    <dgm:if name="Name39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0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6"/>
                          <dgm:adj idx="2" val="-90"/>
                        </dgm:adjLst>
                      </dgm:shape>
                    </dgm:if>
                    <dgm:if name="Name41" axis="followSib" ptType="node" func="cnt" op="equ" val="2">
                      <dgm:shape xmlns:r="http://schemas.openxmlformats.org/officeDocument/2006/relationships" type="pie" r:blip="">
                        <dgm:adjLst>
                          <dgm:adj idx="1" val="150"/>
                          <dgm:adj idx="2" val="-90"/>
                        </dgm:adjLst>
                      </dgm:shape>
                    </dgm:if>
                    <dgm:else name="Name42">
                      <dgm:shape xmlns:r="http://schemas.openxmlformats.org/officeDocument/2006/relationships" type="pie" r:blip="">
                        <dgm:adjLst>
                          <dgm:adj idx="1" val="167.1429"/>
                          <dgm:adj idx="2" val="-90"/>
                        </dgm:adjLst>
                      </dgm:shape>
                    </dgm:else>
                  </dgm:choose>
                </dgm:if>
                <dgm:if name="Name43" axis="precedSib" ptType="node" func="cnt" op="equ" val="4">
                  <dgm:choose name="Name44">
                    <dgm:if name="Name45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46" axis="followSib" ptType="node" func="cnt" op="equ" val="1">
                      <dgm:shape xmlns:r="http://schemas.openxmlformats.org/officeDocument/2006/relationships" type="pie" r:blip="">
                        <dgm:adjLst>
                          <dgm:adj idx="1" val="120"/>
                          <dgm:adj idx="2" val="-90"/>
                        </dgm:adjLst>
                      </dgm:shape>
                    </dgm:if>
                    <dgm:else name="Name47">
                      <dgm:shape xmlns:r="http://schemas.openxmlformats.org/officeDocument/2006/relationships" type="pie" r:blip="">
                        <dgm:adjLst>
                          <dgm:adj idx="1" val="141.4286"/>
                          <dgm:adj idx="2" val="-90"/>
                        </dgm:adjLst>
                      </dgm:shape>
                    </dgm:else>
                  </dgm:choose>
                </dgm:if>
                <dgm:if name="Name48" axis="precedSib" ptType="node" func="cnt" op="equ" val="5">
                  <dgm:choose name="Name49">
                    <dgm:if name="Name50" axis="followSib" ptType="node" func="cnt" op="equ" val="0">
                      <dgm:shape xmlns:r="http://schemas.openxmlformats.org/officeDocument/2006/relationships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51">
                      <dgm:shape xmlns:r="http://schemas.openxmlformats.org/officeDocument/2006/relationships" type="pie" r:blip="">
                        <dgm:adjLst>
                          <dgm:adj idx="1" val="115.7143"/>
                          <dgm:adj idx="2" val="-90"/>
                        </dgm:adjLst>
                      </dgm:shape>
                    </dgm:else>
                  </dgm:choose>
                </dgm:if>
                <dgm:else name="Name52">
                  <dgm:shape xmlns:r="http://schemas.openxmlformats.org/officeDocument/2006/relationships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if>
            <dgm:else name="Name53">
              <dgm:choose name="Name54">
                <dgm:if name="Name55" axis="precedSib" ptType="node" func="cnt" op="equ" val="0">
                  <dgm:choose name="Name56">
                    <dgm:if name="Name5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5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59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if name="Name60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35"/>
                        </dgm:adjLst>
                      </dgm:shape>
                    </dgm:if>
                    <dgm:if name="Name61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6"/>
                        </dgm:adjLst>
                      </dgm:shape>
                    </dgm:if>
                    <dgm:if name="Name62" axis="followSib" ptType="node" func="cnt" op="equ" val="5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20"/>
                        </dgm:adjLst>
                      </dgm:shape>
                    </dgm:if>
                    <dgm:else name="Name6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15.7143"/>
                        </dgm:adjLst>
                      </dgm:shape>
                    </dgm:else>
                  </dgm:choose>
                </dgm:if>
                <dgm:if name="Name64" axis="precedSib" ptType="node" func="cnt" op="equ" val="1">
                  <dgm:choose name="Name65">
                    <dgm:if name="Name66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67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if name="Name68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if name="Name69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2"/>
                        </dgm:adjLst>
                      </dgm:shape>
                    </dgm:if>
                    <dgm:if name="Name70" axis="followSib" ptType="node" func="cnt" op="equ" val="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50"/>
                        </dgm:adjLst>
                      </dgm:shape>
                    </dgm:if>
                    <dgm:else name="Name7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41.4286"/>
                        </dgm:adjLst>
                      </dgm:shape>
                    </dgm:else>
                  </dgm:choose>
                </dgm:if>
                <dgm:if name="Name72" axis="precedSib" ptType="node" func="cnt" op="equ" val="2">
                  <dgm:choose name="Name73">
                    <dgm:if name="Name74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75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35"/>
                        </dgm:adjLst>
                      </dgm:shape>
                    </dgm:if>
                    <dgm:if name="Name76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2"/>
                        </dgm:adjLst>
                      </dgm:shape>
                    </dgm:if>
                    <dgm:if name="Name77" axis="followSib" ptType="node" func="cnt" op="equ" val="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80"/>
                        </dgm:adjLst>
                      </dgm:shape>
                    </dgm:if>
                    <dgm:else name="Name78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167.1429"/>
                        </dgm:adjLst>
                      </dgm:shape>
                    </dgm:else>
                  </dgm:choose>
                </dgm:if>
                <dgm:if name="Name79" axis="precedSib" ptType="node" func="cnt" op="equ" val="3">
                  <dgm:choose name="Name80">
                    <dgm:if name="Name81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2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6"/>
                        </dgm:adjLst>
                      </dgm:shape>
                    </dgm:if>
                    <dgm:if name="Name83" axis="followSib" ptType="node" func="cnt" op="equ" val="2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50"/>
                        </dgm:adjLst>
                      </dgm:shape>
                    </dgm:if>
                    <dgm:else name="Name84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67.1429"/>
                        </dgm:adjLst>
                      </dgm:shape>
                    </dgm:else>
                  </dgm:choose>
                </dgm:if>
                <dgm:if name="Name85" axis="precedSib" ptType="node" func="cnt" op="equ" val="4">
                  <dgm:choose name="Name86">
                    <dgm:if name="Name87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if name="Name88" axis="followSib" ptType="node" func="cnt" op="equ" val="1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20"/>
                        </dgm:adjLst>
                      </dgm:shape>
                    </dgm:if>
                    <dgm:else name="Name89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41.4286"/>
                        </dgm:adjLst>
                      </dgm:shape>
                    </dgm:else>
                  </dgm:choose>
                </dgm:if>
                <dgm:if name="Name90" axis="precedSib" ptType="node" func="cnt" op="equ" val="5">
                  <dgm:choose name="Name91">
                    <dgm:if name="Name92" axis="followSib" ptType="node" func="cnt" op="equ" val="0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90"/>
                        </dgm:adjLst>
                      </dgm:shape>
                    </dgm:if>
                    <dgm:else name="Name93">
                      <dgm:shape xmlns:r="http://schemas.openxmlformats.org/officeDocument/2006/relationships" rot="180" type="pie" r:blip="">
                        <dgm:adjLst>
                          <dgm:adj idx="1" val="90"/>
                          <dgm:adj idx="2" val="-115.7143"/>
                        </dgm:adjLst>
                      </dgm:shape>
                    </dgm:else>
                  </dgm:choose>
                </dgm:if>
                <dgm:else name="Name94">
                  <dgm:shape xmlns:r="http://schemas.openxmlformats.org/officeDocument/2006/relationships" rot="180" type="pie" r:blip="">
                    <dgm:adjLst>
                      <dgm:adj idx="1" val="90"/>
                      <dgm:adj idx="2" val="-90"/>
                    </dgm:adjLst>
                  </dgm:shape>
                </dgm:else>
              </dgm:choose>
            </dgm:else>
          </dgm:choose>
          <dgm:presOf/>
        </dgm:layoutNode>
        <dgm:layoutNode name="Parent" styleLbl="revTx">
          <dgm:varLst>
            <dgm:chMax val="1"/>
            <dgm:chPref val="1"/>
            <dgm:bulletEnabled val="1"/>
          </dgm:varLst>
          <dgm:choose name="Name95">
            <dgm:if name="Name96" func="var" arg="dir" op="equ" val="norm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autoTxRot" val="grav"/>
              </dgm:alg>
            </dgm:if>
            <dgm:else name="Name97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autoTxRot" val="grav"/>
              </dgm:alg>
            </dgm:else>
          </dgm:choose>
          <dgm:choose name="Name98">
            <dgm:if name="Name99" func="var" arg="dir" op="equ" val="norm">
              <dgm:shape xmlns:r="http://schemas.openxmlformats.org/officeDocument/2006/relationships" rot="-90" type="rect" r:blip="">
                <dgm:adjLst/>
              </dgm:shape>
            </dgm:if>
            <dgm:else name="Name100">
              <dgm:shape xmlns:r="http://schemas.openxmlformats.org/officeDocument/2006/relationships" rot="90" type="rect" r:blip="">
                <dgm:adjLst/>
              </dgm:shape>
            </dgm:else>
          </dgm:choose>
          <dgm:presOf axis="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</dgm:layoutNode>
      <dgm:choose name="Name101">
        <dgm:if name="Name102" axis="ch" ptType="node" func="cnt" op="gte" val="1">
          <dgm:forEach name="negSibTransForEach" axis="ch" ptType="sibTrans" hideLastTrans="0" cnt="1">
            <dgm:layoutNode name="neg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  <dgm:layoutNode name="composite">
            <dgm:alg type="composite">
              <dgm:param type="ar" val="0.5"/>
            </dgm:alg>
            <dgm:shape xmlns:r="http://schemas.openxmlformats.org/officeDocument/2006/relationships" r:blip="">
              <dgm:adjLst/>
            </dgm:shape>
            <dgm:choose name="Name103">
              <dgm:if name="Name104" func="var" arg="dir" op="equ" val="norm">
                <dgm:constrLst>
                  <dgm:constr type="l" for="ch" forName="Child" refType="w" fact="0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if>
              <dgm:else name="Name105">
                <dgm:constrLst>
                  <dgm:constr type="r" for="ch" forName="Child" refType="w"/>
                  <dgm:constr type="t" for="ch" forName="Child" refType="h" fact="0"/>
                  <dgm:constr type="w" for="ch" forName="Child" refType="w"/>
                  <dgm:constr type="h" for="ch" forName="Child" refType="h"/>
                </dgm:constrLst>
              </dgm:else>
            </dgm:choose>
            <dgm:ruleLst/>
            <dgm:layoutNode name="Child" styleLbl="revTx">
              <dgm:varLst>
                <dgm:chMax val="0"/>
                <dgm:chPref val="0"/>
                <dgm:bulletEnabled val="1"/>
              </dgm:varLst>
              <dgm:choose name="Name106">
                <dgm:if name="Name107" func="var" arg="dir" op="equ" val="norm">
                  <dgm:alg type="tx">
                    <dgm:param type="parTxLTRAlign" val="l"/>
                    <dgm:param type="parTxRTLAlign" val="r"/>
                    <dgm:param type="txAnchorVert" val="t"/>
                  </dgm:alg>
                </dgm:if>
                <dgm:else name="Name108">
                  <dgm:alg type="tx">
                    <dgm:param type="parTxLTRAlign" val="r"/>
                    <dgm:param type="parTxRTLAlign" val="l"/>
                    <dgm:param type="txAnchorVert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"/>
                <dgm:constr type="rMarg" refType="primFontSz" fact="0"/>
                <dgm:constr type="tMarg" refType="primFontSz" fact="0"/>
                <dgm:constr type="bMarg" refType="primFontSz" fact="0"/>
              </dgm:constrLst>
              <dgm:ruleLst>
                <dgm:rule type="primFontSz" val="5" fact="NaN" max="NaN"/>
              </dgm:ruleLst>
            </dgm:layoutNode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</dgm:layoutNode>
          </dgm:forEach>
        </dgm:if>
        <dgm:else name="Name109"/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E0C63B-17C4-4009-BAEE-645995B6C8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948789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1D34B0-49DA-4698-B815-0F3C4D35329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02986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24652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4199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912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52284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52284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33105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73677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041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3509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2601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61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19904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9909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99326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5226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ru-RU" smtClean="0"/>
              <a:t>16.06.2016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B1D34B0-49DA-4698-B815-0F3C4D35329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6223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oleObject" Target="../embeddings/oleObject3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2.jpeg"/><Relationship Id="rId5" Type="http://schemas.openxmlformats.org/officeDocument/2006/relationships/tags" Target="../tags/tag10.xml"/><Relationship Id="rId10" Type="http://schemas.openxmlformats.org/officeDocument/2006/relationships/image" Target="../media/image1.wmf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48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111.wmf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5710" y="25"/>
            <a:ext cx="6468290" cy="837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5419" y="340617"/>
            <a:ext cx="1694053" cy="49244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 smtClean="0">
                <a:solidFill>
                  <a:srgbClr val="990000"/>
                </a:solidFill>
                <a:latin typeface="Calibri" pitchFamily="34" charset="0"/>
              </a:rPr>
              <a:t>Правительство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 smtClean="0">
                <a:solidFill>
                  <a:srgbClr val="990000"/>
                </a:solidFill>
                <a:latin typeface="Calibri" pitchFamily="34" charset="0"/>
              </a:rPr>
              <a:t>Ярославской области</a:t>
            </a:r>
          </a:p>
        </p:txBody>
      </p:sp>
      <p:pic>
        <p:nvPicPr>
          <p:cNvPr id="6" name="Рисунок 8" descr="gerb1.jp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9" y="36632"/>
            <a:ext cx="456901" cy="86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150323" y="1844635"/>
            <a:ext cx="2841868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990000"/>
                </a:solidFill>
              </a:rPr>
              <a:t>ПРАВИТЕЛЬСТВ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990000"/>
                </a:solidFill>
              </a:rPr>
              <a:t>ЯРОСЛАВСКОЙ ОБЛАСТИ</a:t>
            </a:r>
          </a:p>
        </p:txBody>
      </p:sp>
      <p:pic>
        <p:nvPicPr>
          <p:cNvPr id="8" name="Рисунок 8" descr="gerb1.jp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709" y="334226"/>
            <a:ext cx="736119" cy="140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Rectangle 15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448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9" name="Заголовок 1"/>
          <p:cNvSpPr>
            <a:spLocks noGrp="1"/>
          </p:cNvSpPr>
          <p:nvPr>
            <p:ph type="ctrTitle"/>
          </p:nvPr>
        </p:nvSpPr>
        <p:spPr>
          <a:xfrm>
            <a:off x="933239" y="3504599"/>
            <a:ext cx="7277573" cy="439268"/>
          </a:xfrm>
        </p:spPr>
        <p:txBody>
          <a:bodyPr lIns="36000" tIns="36000" rIns="36000" bIns="36000"/>
          <a:lstStyle>
            <a:lvl1pPr algn="ctr" eaLnBrk="1" hangingPunct="1">
              <a:buFontTx/>
              <a:buNone/>
              <a:defRPr sz="2400" smtClean="0">
                <a:solidFill>
                  <a:srgbClr val="990000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050851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774" y="4966605"/>
            <a:ext cx="5487296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774" y="612773"/>
            <a:ext cx="5487296" cy="5651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774" y="5366740"/>
            <a:ext cx="5487296" cy="2881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A6B16-129F-40B9-8D3B-33E1C83C17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259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8971568" y="1196848"/>
            <a:ext cx="17997610" cy="3183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D60836-4C50-4992-941E-4D5ABD3ECC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49267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795177" y="235550"/>
            <a:ext cx="4247317" cy="127960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6158592" y="235550"/>
            <a:ext cx="12826964" cy="127960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E85358-D17B-4DE1-B182-B4F013C6C9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1410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360" y="2131089"/>
            <a:ext cx="7773296" cy="76944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198" y="3886571"/>
            <a:ext cx="6399605" cy="318924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2290E8-00F7-43E5-8DFD-1D909AA3EA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3196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451" y="1196848"/>
            <a:ext cx="8906591" cy="150078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4E368B-FBFA-4D8D-B40A-2F1F38286A6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64661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84" y="4407009"/>
            <a:ext cx="7771803" cy="70788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84" y="4026555"/>
            <a:ext cx="7771803" cy="38048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0AD611-FB49-40BA-AD63-5AED09E27D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9936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9456" y="1196848"/>
            <a:ext cx="4380878" cy="198091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3697" y="1196848"/>
            <a:ext cx="4382371" cy="198091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6509D-2258-4C55-ADCA-21CFDA5EE7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23205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2" y="275339"/>
            <a:ext cx="8230197" cy="76944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903" y="1733644"/>
            <a:ext cx="4040442" cy="4420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903" y="2175678"/>
            <a:ext cx="4040442" cy="17346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5" y="1733644"/>
            <a:ext cx="4041934" cy="4420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65" y="2175678"/>
            <a:ext cx="4041934" cy="17346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0564A7-8A93-4F31-8962-F553873970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2434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195111-95BA-49A7-BF50-901FD4DE8B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362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20B9D8-8339-43A9-BA5D-2626C59EC3D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8109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27" y="1035496"/>
            <a:ext cx="3008681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581" y="273747"/>
            <a:ext cx="5112517" cy="226407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27" y="1435606"/>
            <a:ext cx="3008681" cy="2881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26E5A5-A139-4D47-9DDF-038E5DC0C6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91118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5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448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119451" y="1196848"/>
            <a:ext cx="8906591" cy="31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ru-RU" altLang="ru-RU" smtClean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8739359" y="6596986"/>
            <a:ext cx="370299" cy="1957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solidFill>
                  <a:srgbClr val="898989"/>
                </a:solidFill>
                <a:latin typeface="+mn-lt"/>
                <a:cs typeface="+mj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6CFEE6-EAB2-4BBE-A900-125FBA4F8DD7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1029" name="Рисунок 4" descr="111.wmf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5710" y="25"/>
            <a:ext cx="6468290" cy="837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85419" y="340617"/>
            <a:ext cx="1694053" cy="492443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 smtClean="0">
                <a:solidFill>
                  <a:srgbClr val="990000"/>
                </a:solidFill>
                <a:latin typeface="Calibri" pitchFamily="34" charset="0"/>
              </a:rPr>
              <a:t>Правительство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 smtClean="0">
                <a:solidFill>
                  <a:srgbClr val="990000"/>
                </a:solidFill>
                <a:latin typeface="Calibri" pitchFamily="34" charset="0"/>
              </a:rPr>
              <a:t>Ярославской области</a:t>
            </a:r>
          </a:p>
        </p:txBody>
      </p:sp>
      <p:sp>
        <p:nvSpPr>
          <p:cNvPr id="1031" name="Заголовок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2742927" y="36606"/>
            <a:ext cx="6299565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32" name="Рисунок 8" descr="gerb1.jp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9" y="36632"/>
            <a:ext cx="456901" cy="86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101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44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44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44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44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44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hyperlink" Target="mailto:lohanina@yarregion.ru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13" Type="http://schemas.openxmlformats.org/officeDocument/2006/relationships/diagramLayout" Target="../diagrams/layout10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9.xml"/><Relationship Id="rId12" Type="http://schemas.openxmlformats.org/officeDocument/2006/relationships/diagramData" Target="../diagrams/data10.xml"/><Relationship Id="rId2" Type="http://schemas.openxmlformats.org/officeDocument/2006/relationships/tags" Target="../tags/tag33.xml"/><Relationship Id="rId16" Type="http://schemas.microsoft.com/office/2007/relationships/diagramDrawing" Target="../diagrams/drawing1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11" Type="http://schemas.microsoft.com/office/2007/relationships/diagramDrawing" Target="../diagrams/drawing9.xml"/><Relationship Id="rId5" Type="http://schemas.openxmlformats.org/officeDocument/2006/relationships/oleObject" Target="../embeddings/oleObject13.bin"/><Relationship Id="rId15" Type="http://schemas.openxmlformats.org/officeDocument/2006/relationships/diagramColors" Target="../diagrams/colors10.xml"/><Relationship Id="rId10" Type="http://schemas.openxmlformats.org/officeDocument/2006/relationships/diagramColors" Target="../diagrams/colors9.xml"/><Relationship Id="rId4" Type="http://schemas.openxmlformats.org/officeDocument/2006/relationships/notesSlide" Target="../notesSlides/notesSlide10.xml"/><Relationship Id="rId9" Type="http://schemas.openxmlformats.org/officeDocument/2006/relationships/diagramQuickStyle" Target="../diagrams/quickStyle9.xml"/><Relationship Id="rId14" Type="http://schemas.openxmlformats.org/officeDocument/2006/relationships/diagramQuickStyle" Target="../diagrams/quickStyl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13" Type="http://schemas.openxmlformats.org/officeDocument/2006/relationships/diagramLayout" Target="../diagrams/layout12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1.xml"/><Relationship Id="rId12" Type="http://schemas.openxmlformats.org/officeDocument/2006/relationships/diagramData" Target="../diagrams/data12.xml"/><Relationship Id="rId2" Type="http://schemas.openxmlformats.org/officeDocument/2006/relationships/tags" Target="../tags/tag34.xml"/><Relationship Id="rId16" Type="http://schemas.microsoft.com/office/2007/relationships/diagramDrawing" Target="../diagrams/drawing1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11" Type="http://schemas.microsoft.com/office/2007/relationships/diagramDrawing" Target="../diagrams/drawing11.xml"/><Relationship Id="rId5" Type="http://schemas.openxmlformats.org/officeDocument/2006/relationships/oleObject" Target="../embeddings/oleObject14.bin"/><Relationship Id="rId15" Type="http://schemas.openxmlformats.org/officeDocument/2006/relationships/diagramColors" Target="../diagrams/colors12.xml"/><Relationship Id="rId10" Type="http://schemas.openxmlformats.org/officeDocument/2006/relationships/diagramColors" Target="../diagrams/colors11.xml"/><Relationship Id="rId4" Type="http://schemas.openxmlformats.org/officeDocument/2006/relationships/notesSlide" Target="../notesSlides/notesSlide11.xml"/><Relationship Id="rId9" Type="http://schemas.openxmlformats.org/officeDocument/2006/relationships/diagramQuickStyle" Target="../diagrams/quickStyle11.xml"/><Relationship Id="rId14" Type="http://schemas.openxmlformats.org/officeDocument/2006/relationships/diagramQuickStyle" Target="../diagrams/quickStyle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3.xml"/><Relationship Id="rId13" Type="http://schemas.openxmlformats.org/officeDocument/2006/relationships/diagramLayout" Target="../diagrams/layout14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3.xml"/><Relationship Id="rId12" Type="http://schemas.openxmlformats.org/officeDocument/2006/relationships/diagramData" Target="../diagrams/data14.xml"/><Relationship Id="rId17" Type="http://schemas.openxmlformats.org/officeDocument/2006/relationships/image" Target="../media/image6.emf"/><Relationship Id="rId2" Type="http://schemas.openxmlformats.org/officeDocument/2006/relationships/tags" Target="../tags/tag35.xml"/><Relationship Id="rId16" Type="http://schemas.microsoft.com/office/2007/relationships/diagramDrawing" Target="../diagrams/drawin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11" Type="http://schemas.microsoft.com/office/2007/relationships/diagramDrawing" Target="../diagrams/drawing13.xml"/><Relationship Id="rId5" Type="http://schemas.openxmlformats.org/officeDocument/2006/relationships/oleObject" Target="../embeddings/oleObject15.bin"/><Relationship Id="rId15" Type="http://schemas.openxmlformats.org/officeDocument/2006/relationships/diagramColors" Target="../diagrams/colors14.xml"/><Relationship Id="rId10" Type="http://schemas.openxmlformats.org/officeDocument/2006/relationships/diagramColors" Target="../diagrams/colors13.xml"/><Relationship Id="rId4" Type="http://schemas.openxmlformats.org/officeDocument/2006/relationships/notesSlide" Target="../notesSlides/notesSlide12.xml"/><Relationship Id="rId9" Type="http://schemas.openxmlformats.org/officeDocument/2006/relationships/diagramQuickStyle" Target="../diagrams/quickStyle13.xml"/><Relationship Id="rId14" Type="http://schemas.openxmlformats.org/officeDocument/2006/relationships/diagramQuickStyle" Target="../diagrams/quickStyle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5.xml"/><Relationship Id="rId13" Type="http://schemas.openxmlformats.org/officeDocument/2006/relationships/diagramLayout" Target="../diagrams/layout16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5.xml"/><Relationship Id="rId12" Type="http://schemas.openxmlformats.org/officeDocument/2006/relationships/diagramData" Target="../diagrams/data16.xml"/><Relationship Id="rId17" Type="http://schemas.openxmlformats.org/officeDocument/2006/relationships/image" Target="../media/image6.emf"/><Relationship Id="rId2" Type="http://schemas.openxmlformats.org/officeDocument/2006/relationships/tags" Target="../tags/tag36.xml"/><Relationship Id="rId16" Type="http://schemas.microsoft.com/office/2007/relationships/diagramDrawing" Target="../diagrams/drawin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11" Type="http://schemas.microsoft.com/office/2007/relationships/diagramDrawing" Target="../diagrams/drawing15.xml"/><Relationship Id="rId5" Type="http://schemas.openxmlformats.org/officeDocument/2006/relationships/oleObject" Target="../embeddings/oleObject16.bin"/><Relationship Id="rId15" Type="http://schemas.openxmlformats.org/officeDocument/2006/relationships/diagramColors" Target="../diagrams/colors16.xml"/><Relationship Id="rId10" Type="http://schemas.openxmlformats.org/officeDocument/2006/relationships/diagramColors" Target="../diagrams/colors15.xml"/><Relationship Id="rId4" Type="http://schemas.openxmlformats.org/officeDocument/2006/relationships/notesSlide" Target="../notesSlides/notesSlide13.xml"/><Relationship Id="rId9" Type="http://schemas.openxmlformats.org/officeDocument/2006/relationships/diagramQuickStyle" Target="../diagrams/quickStyle15.xml"/><Relationship Id="rId14" Type="http://schemas.openxmlformats.org/officeDocument/2006/relationships/diagramQuickStyle" Target="../diagrams/quickStyle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7.xml"/><Relationship Id="rId13" Type="http://schemas.openxmlformats.org/officeDocument/2006/relationships/diagramLayout" Target="../diagrams/layout18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7.xml"/><Relationship Id="rId12" Type="http://schemas.openxmlformats.org/officeDocument/2006/relationships/diagramData" Target="../diagrams/data18.xml"/><Relationship Id="rId17" Type="http://schemas.openxmlformats.org/officeDocument/2006/relationships/image" Target="../media/image9.emf"/><Relationship Id="rId2" Type="http://schemas.openxmlformats.org/officeDocument/2006/relationships/tags" Target="../tags/tag37.xml"/><Relationship Id="rId16" Type="http://schemas.microsoft.com/office/2007/relationships/diagramDrawing" Target="../diagrams/drawin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11" Type="http://schemas.microsoft.com/office/2007/relationships/diagramDrawing" Target="../diagrams/drawing17.xml"/><Relationship Id="rId5" Type="http://schemas.openxmlformats.org/officeDocument/2006/relationships/oleObject" Target="../embeddings/oleObject17.bin"/><Relationship Id="rId15" Type="http://schemas.openxmlformats.org/officeDocument/2006/relationships/diagramColors" Target="../diagrams/colors18.xml"/><Relationship Id="rId10" Type="http://schemas.openxmlformats.org/officeDocument/2006/relationships/diagramColors" Target="../diagrams/colors17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17.xml"/><Relationship Id="rId14" Type="http://schemas.openxmlformats.org/officeDocument/2006/relationships/diagramQuickStyle" Target="../diagrams/quickStyle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9.xml"/><Relationship Id="rId13" Type="http://schemas.openxmlformats.org/officeDocument/2006/relationships/diagramLayout" Target="../diagrams/layout20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9.xml"/><Relationship Id="rId12" Type="http://schemas.openxmlformats.org/officeDocument/2006/relationships/diagramData" Target="../diagrams/data20.xml"/><Relationship Id="rId2" Type="http://schemas.openxmlformats.org/officeDocument/2006/relationships/tags" Target="../tags/tag38.xml"/><Relationship Id="rId16" Type="http://schemas.microsoft.com/office/2007/relationships/diagramDrawing" Target="../diagrams/drawin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11" Type="http://schemas.microsoft.com/office/2007/relationships/diagramDrawing" Target="../diagrams/drawing19.xml"/><Relationship Id="rId5" Type="http://schemas.openxmlformats.org/officeDocument/2006/relationships/oleObject" Target="../embeddings/oleObject18.bin"/><Relationship Id="rId15" Type="http://schemas.openxmlformats.org/officeDocument/2006/relationships/diagramColors" Target="../diagrams/colors20.xml"/><Relationship Id="rId10" Type="http://schemas.openxmlformats.org/officeDocument/2006/relationships/diagramColors" Target="../diagrams/colors19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19.xml"/><Relationship Id="rId14" Type="http://schemas.openxmlformats.org/officeDocument/2006/relationships/diagramQuickStyle" Target="../diagrams/quickStyle2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1.xml"/><Relationship Id="rId13" Type="http://schemas.openxmlformats.org/officeDocument/2006/relationships/diagramLayout" Target="../diagrams/layout22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21.xml"/><Relationship Id="rId12" Type="http://schemas.openxmlformats.org/officeDocument/2006/relationships/diagramData" Target="../diagrams/data22.xml"/><Relationship Id="rId2" Type="http://schemas.openxmlformats.org/officeDocument/2006/relationships/tags" Target="../tags/tag39.xml"/><Relationship Id="rId16" Type="http://schemas.microsoft.com/office/2007/relationships/diagramDrawing" Target="../diagrams/drawin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11" Type="http://schemas.microsoft.com/office/2007/relationships/diagramDrawing" Target="../diagrams/drawing21.xml"/><Relationship Id="rId5" Type="http://schemas.openxmlformats.org/officeDocument/2006/relationships/oleObject" Target="../embeddings/oleObject19.bin"/><Relationship Id="rId15" Type="http://schemas.openxmlformats.org/officeDocument/2006/relationships/diagramColors" Target="../diagrams/colors22.xml"/><Relationship Id="rId10" Type="http://schemas.openxmlformats.org/officeDocument/2006/relationships/diagramColors" Target="../diagrams/colors21.xml"/><Relationship Id="rId4" Type="http://schemas.openxmlformats.org/officeDocument/2006/relationships/notesSlide" Target="../notesSlides/notesSlide16.xml"/><Relationship Id="rId9" Type="http://schemas.openxmlformats.org/officeDocument/2006/relationships/diagramQuickStyle" Target="../diagrams/quickStyle21.xml"/><Relationship Id="rId14" Type="http://schemas.openxmlformats.org/officeDocument/2006/relationships/diagramQuickStyle" Target="../diagrams/quickStyle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6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9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tags" Target="../tags/tag30.xml"/><Relationship Id="rId16" Type="http://schemas.microsoft.com/office/2007/relationships/diagramDrawing" Target="../diagrams/drawing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11" Type="http://schemas.microsoft.com/office/2007/relationships/diagramDrawing" Target="../diagrams/drawing3.xml"/><Relationship Id="rId5" Type="http://schemas.openxmlformats.org/officeDocument/2006/relationships/oleObject" Target="../embeddings/oleObject10.bin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notesSlide" Target="../notesSlides/notesSlide7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2" Type="http://schemas.openxmlformats.org/officeDocument/2006/relationships/tags" Target="../tags/tag31.xml"/><Relationship Id="rId16" Type="http://schemas.microsoft.com/office/2007/relationships/diagramDrawing" Target="../diagrams/drawing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11.bin"/><Relationship Id="rId15" Type="http://schemas.openxmlformats.org/officeDocument/2006/relationships/diagramColors" Target="../diagrams/colors6.xml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8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diagramLayout" Target="../diagrams/layout8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7.xml"/><Relationship Id="rId12" Type="http://schemas.openxmlformats.org/officeDocument/2006/relationships/diagramData" Target="../diagrams/data8.xml"/><Relationship Id="rId17" Type="http://schemas.openxmlformats.org/officeDocument/2006/relationships/image" Target="../media/image5.emf"/><Relationship Id="rId2" Type="http://schemas.openxmlformats.org/officeDocument/2006/relationships/tags" Target="../tags/tag32.xml"/><Relationship Id="rId16" Type="http://schemas.microsoft.com/office/2007/relationships/diagramDrawing" Target="../diagrams/drawing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11" Type="http://schemas.microsoft.com/office/2007/relationships/diagramDrawing" Target="../diagrams/drawing7.xml"/><Relationship Id="rId5" Type="http://schemas.openxmlformats.org/officeDocument/2006/relationships/oleObject" Target="../embeddings/oleObject12.bin"/><Relationship Id="rId15" Type="http://schemas.openxmlformats.org/officeDocument/2006/relationships/diagramColors" Target="../diagrams/colors8.xml"/><Relationship Id="rId10" Type="http://schemas.openxmlformats.org/officeDocument/2006/relationships/diagramColors" Target="../diagrams/colors7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7.xml"/><Relationship Id="rId14" Type="http://schemas.openxmlformats.org/officeDocument/2006/relationships/diagramQuickStyle" Target="../diagrams/quickStyl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059832" y="18864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4000" kern="0" dirty="0" smtClean="0">
                <a:solidFill>
                  <a:srgbClr val="000000"/>
                </a:solidFill>
              </a:rPr>
              <a:t>О назначении именных стипендий</a:t>
            </a:r>
          </a:p>
          <a:p>
            <a:pPr algn="ctr">
              <a:defRPr/>
            </a:pPr>
            <a:r>
              <a:rPr lang="ru-RU" sz="4000" kern="0" dirty="0" smtClean="0">
                <a:solidFill>
                  <a:srgbClr val="000000"/>
                </a:solidFill>
              </a:rPr>
              <a:t>Губернатора области</a:t>
            </a:r>
          </a:p>
          <a:p>
            <a:pPr algn="ctr">
              <a:defRPr/>
            </a:pPr>
            <a:r>
              <a:rPr lang="ru-RU" sz="4000" kern="0" dirty="0" smtClean="0">
                <a:solidFill>
                  <a:srgbClr val="000000"/>
                </a:solidFill>
              </a:rPr>
              <a:t>на 201</a:t>
            </a:r>
            <a:r>
              <a:rPr lang="en-US" sz="4000" kern="0" dirty="0" smtClean="0">
                <a:solidFill>
                  <a:srgbClr val="000000"/>
                </a:solidFill>
              </a:rPr>
              <a:t>7</a:t>
            </a:r>
            <a:r>
              <a:rPr lang="ru-RU" sz="4000" kern="0" dirty="0" smtClean="0">
                <a:solidFill>
                  <a:srgbClr val="000000"/>
                </a:solidFill>
              </a:rPr>
              <a:t>/201</a:t>
            </a:r>
            <a:r>
              <a:rPr lang="en-US" sz="4000" kern="0" dirty="0" smtClean="0">
                <a:solidFill>
                  <a:srgbClr val="000000"/>
                </a:solidFill>
              </a:rPr>
              <a:t>8</a:t>
            </a:r>
            <a:r>
              <a:rPr lang="ru-RU" sz="4000" kern="0" dirty="0" smtClean="0">
                <a:solidFill>
                  <a:srgbClr val="000000"/>
                </a:solidFill>
              </a:rPr>
              <a:t> учебный год</a:t>
            </a:r>
            <a:endParaRPr lang="en-US" sz="4000" kern="0" dirty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ru-RU" sz="2400" kern="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ru-RU" sz="2400" kern="0" dirty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ru-RU" sz="2400" kern="0" dirty="0" smtClean="0">
                <a:solidFill>
                  <a:srgbClr val="000000"/>
                </a:solidFill>
              </a:rPr>
              <a:t>Советник </a:t>
            </a:r>
            <a:r>
              <a:rPr lang="ru-RU" sz="2400" kern="0" dirty="0">
                <a:solidFill>
                  <a:srgbClr val="000000"/>
                </a:solidFill>
              </a:rPr>
              <a:t>Губернатора области по вопросам высшей  школы и науки И.М. </a:t>
            </a:r>
            <a:r>
              <a:rPr lang="ru-RU" sz="2400" kern="0" dirty="0" smtClean="0">
                <a:solidFill>
                  <a:srgbClr val="000000"/>
                </a:solidFill>
              </a:rPr>
              <a:t>Лоханина</a:t>
            </a:r>
            <a:endParaRPr lang="en-US" sz="2400" kern="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2400" kern="0" dirty="0" smtClean="0">
                <a:solidFill>
                  <a:srgbClr val="000000"/>
                </a:solidFill>
              </a:rPr>
              <a:t>(4852) 40 07 94; </a:t>
            </a:r>
            <a:r>
              <a:rPr lang="en-US" sz="2400" kern="0" dirty="0" smtClean="0">
                <a:solidFill>
                  <a:srgbClr val="000000"/>
                </a:solidFill>
                <a:hlinkClick r:id="rId7"/>
              </a:rPr>
              <a:t>lohanina@yarregion.ru</a:t>
            </a:r>
            <a:endParaRPr lang="en-US" sz="2400" kern="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ru-RU" sz="2400" kern="0" dirty="0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50564A7-8A93-4F31-8962-F553873970FA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9327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774052245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75031514"/>
              </p:ext>
            </p:extLst>
          </p:nvPr>
        </p:nvGraphicFramePr>
        <p:xfrm>
          <a:off x="251520" y="1772816"/>
          <a:ext cx="871296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7600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989090967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813132183"/>
              </p:ext>
            </p:extLst>
          </p:nvPr>
        </p:nvGraphicFramePr>
        <p:xfrm>
          <a:off x="569887" y="1772816"/>
          <a:ext cx="8280918" cy="43334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984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586076383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8332009"/>
              </p:ext>
            </p:extLst>
          </p:nvPr>
        </p:nvGraphicFramePr>
        <p:xfrm>
          <a:off x="539553" y="1772816"/>
          <a:ext cx="8280918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806" y="2012940"/>
            <a:ext cx="4205572" cy="4224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2</a:t>
            </a:fld>
            <a:endParaRPr lang="ru-RU" dirty="0"/>
          </a:p>
        </p:txBody>
      </p:sp>
      <p:pic>
        <p:nvPicPr>
          <p:cNvPr id="19528" name="Picture 7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149" y="4331678"/>
            <a:ext cx="530225" cy="987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4231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428598378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528775114"/>
              </p:ext>
            </p:extLst>
          </p:nvPr>
        </p:nvGraphicFramePr>
        <p:xfrm>
          <a:off x="539553" y="1772816"/>
          <a:ext cx="8280918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9460" name="Picture 4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806" y="2012940"/>
            <a:ext cx="4205572" cy="4224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464" name="Picture 8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4725144"/>
            <a:ext cx="577387" cy="10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243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31541482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87862563"/>
              </p:ext>
            </p:extLst>
          </p:nvPr>
        </p:nvGraphicFramePr>
        <p:xfrm>
          <a:off x="539553" y="1772816"/>
          <a:ext cx="8280918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1" y="2085206"/>
            <a:ext cx="3960440" cy="3695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Стрелка вправо 9"/>
          <p:cNvSpPr/>
          <p:nvPr/>
        </p:nvSpPr>
        <p:spPr>
          <a:xfrm>
            <a:off x="4139952" y="4053920"/>
            <a:ext cx="720079" cy="525035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9469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4083805840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71695923"/>
              </p:ext>
            </p:extLst>
          </p:nvPr>
        </p:nvGraphicFramePr>
        <p:xfrm>
          <a:off x="467544" y="1700808"/>
          <a:ext cx="8280918" cy="4832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958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934509297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578158025"/>
              </p:ext>
            </p:extLst>
          </p:nvPr>
        </p:nvGraphicFramePr>
        <p:xfrm>
          <a:off x="539553" y="2012940"/>
          <a:ext cx="8280918" cy="4584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16</a:t>
            </a:fld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911776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059832" y="18864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503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800" kern="0" dirty="0" smtClean="0">
                <a:solidFill>
                  <a:srgbClr val="000000"/>
                </a:solidFill>
              </a:rPr>
              <a:t>Нормативная база назначения именных стипендий Губернатора области:</a:t>
            </a:r>
          </a:p>
          <a:p>
            <a:pPr marL="457200" indent="-457200" algn="just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000" kern="0" dirty="0" smtClean="0">
                <a:solidFill>
                  <a:srgbClr val="000000"/>
                </a:solidFill>
              </a:rPr>
              <a:t>Закон Ярославской области от 19 декабря 2008г. № 65-з «Социальный кодекс Ярославской области», статьи 30, 31, 92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000" kern="0" dirty="0" smtClean="0">
                <a:solidFill>
                  <a:srgbClr val="000000"/>
                </a:solidFill>
              </a:rPr>
              <a:t>Указ Губернатора области от 28.12.2015 № 75</a:t>
            </a:r>
            <a:r>
              <a:rPr lang="en-US" sz="2000" kern="0" dirty="0" smtClean="0">
                <a:solidFill>
                  <a:srgbClr val="000000"/>
                </a:solidFill>
              </a:rPr>
              <a:t>2</a:t>
            </a:r>
            <a:r>
              <a:rPr lang="ru-RU" sz="2000" kern="0" dirty="0" smtClean="0">
                <a:solidFill>
                  <a:srgbClr val="000000"/>
                </a:solidFill>
              </a:rPr>
              <a:t> «Об именных стипендиях обучающимся по образовательным программам высшего образования и признании утратившими силу отдельных нормативных правовых актов»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000" kern="0" dirty="0" smtClean="0">
                <a:solidFill>
                  <a:srgbClr val="000000"/>
                </a:solidFill>
              </a:rPr>
              <a:t>Указ </a:t>
            </a:r>
            <a:r>
              <a:rPr lang="ru-RU" sz="2000" kern="0" dirty="0">
                <a:solidFill>
                  <a:srgbClr val="000000"/>
                </a:solidFill>
              </a:rPr>
              <a:t>Губернатора области </a:t>
            </a:r>
            <a:r>
              <a:rPr lang="ru-RU" sz="2000" kern="0" dirty="0" smtClean="0">
                <a:solidFill>
                  <a:srgbClr val="000000"/>
                </a:solidFill>
              </a:rPr>
              <a:t>от 29.03.2016 № 150 «О внесении изменений в указ Губернатора области от 28.12. 2015 №75</a:t>
            </a:r>
            <a:r>
              <a:rPr lang="en-US" sz="2000" kern="0" dirty="0" smtClean="0">
                <a:solidFill>
                  <a:srgbClr val="000000"/>
                </a:solidFill>
              </a:rPr>
              <a:t>2</a:t>
            </a:r>
            <a:r>
              <a:rPr lang="ru-RU" sz="2000" kern="0" dirty="0" smtClean="0">
                <a:solidFill>
                  <a:srgbClr val="000000"/>
                </a:solidFill>
              </a:rPr>
              <a:t>»</a:t>
            </a:r>
          </a:p>
          <a:p>
            <a:pPr marL="457200" lvl="0" indent="-457200" algn="just">
              <a:buFont typeface="Arial" panose="020B0604020202020204" pitchFamily="34" charset="0"/>
              <a:buChar char="•"/>
              <a:defRPr/>
            </a:pPr>
            <a:r>
              <a:rPr lang="ru-RU" sz="2000" kern="0" dirty="0">
                <a:solidFill>
                  <a:srgbClr val="000000"/>
                </a:solidFill>
              </a:rPr>
              <a:t>Указ Губернатора области от </a:t>
            </a:r>
            <a:r>
              <a:rPr lang="ru-RU" sz="2000" kern="0" dirty="0" smtClean="0">
                <a:solidFill>
                  <a:srgbClr val="000000"/>
                </a:solidFill>
              </a:rPr>
              <a:t>09.06.2016 </a:t>
            </a:r>
            <a:r>
              <a:rPr lang="ru-RU" sz="2000" kern="0" dirty="0">
                <a:solidFill>
                  <a:srgbClr val="000000"/>
                </a:solidFill>
              </a:rPr>
              <a:t>№ </a:t>
            </a:r>
            <a:r>
              <a:rPr lang="ru-RU" sz="2000" kern="0" dirty="0" smtClean="0">
                <a:solidFill>
                  <a:srgbClr val="000000"/>
                </a:solidFill>
              </a:rPr>
              <a:t>303 </a:t>
            </a:r>
            <a:r>
              <a:rPr lang="ru-RU" sz="2000" kern="0" dirty="0">
                <a:solidFill>
                  <a:srgbClr val="000000"/>
                </a:solidFill>
              </a:rPr>
              <a:t>«О внесении изменений в указ Губернатора области от 28.12. 2015 №</a:t>
            </a:r>
            <a:r>
              <a:rPr lang="ru-RU" sz="2000" kern="0" dirty="0" smtClean="0">
                <a:solidFill>
                  <a:srgbClr val="000000"/>
                </a:solidFill>
              </a:rPr>
              <a:t>75</a:t>
            </a:r>
            <a:r>
              <a:rPr lang="en-US" sz="2000" kern="0" dirty="0" smtClean="0">
                <a:solidFill>
                  <a:srgbClr val="000000"/>
                </a:solidFill>
              </a:rPr>
              <a:t>2</a:t>
            </a:r>
            <a:r>
              <a:rPr lang="ru-RU" sz="2000" kern="0" dirty="0" smtClean="0">
                <a:solidFill>
                  <a:srgbClr val="000000"/>
                </a:solidFill>
              </a:rPr>
              <a:t>»</a:t>
            </a:r>
          </a:p>
          <a:p>
            <a:pPr marL="457200" lvl="0" indent="-457200" algn="just">
              <a:buFont typeface="Arial" panose="020B0604020202020204" pitchFamily="34" charset="0"/>
              <a:buChar char="•"/>
              <a:defRPr/>
            </a:pPr>
            <a:r>
              <a:rPr lang="ru-RU" sz="2000" kern="0" dirty="0" smtClean="0">
                <a:solidFill>
                  <a:srgbClr val="000000"/>
                </a:solidFill>
              </a:rPr>
              <a:t>Указ </a:t>
            </a:r>
            <a:r>
              <a:rPr lang="ru-RU" sz="2000" kern="0" dirty="0">
                <a:solidFill>
                  <a:srgbClr val="000000"/>
                </a:solidFill>
              </a:rPr>
              <a:t>Губернатора области от </a:t>
            </a:r>
            <a:r>
              <a:rPr lang="ru-RU" sz="2000" kern="0" dirty="0" smtClean="0"/>
              <a:t>06.06.2017 </a:t>
            </a:r>
            <a:r>
              <a:rPr lang="ru-RU" sz="2000" kern="0" dirty="0"/>
              <a:t>№ </a:t>
            </a:r>
            <a:r>
              <a:rPr lang="ru-RU" sz="2000" kern="0" dirty="0" smtClean="0"/>
              <a:t>188 </a:t>
            </a:r>
            <a:r>
              <a:rPr lang="ru-RU" sz="2000" kern="0" dirty="0"/>
              <a:t>«</a:t>
            </a:r>
            <a:r>
              <a:rPr lang="ru-RU" sz="2000" kern="0" dirty="0">
                <a:solidFill>
                  <a:srgbClr val="000000"/>
                </a:solidFill>
              </a:rPr>
              <a:t>О внесении изменений в указ Губернатора области от 28.12. 2015 №75</a:t>
            </a:r>
            <a:r>
              <a:rPr lang="en-US" sz="2000" kern="0" dirty="0">
                <a:solidFill>
                  <a:srgbClr val="000000"/>
                </a:solidFill>
              </a:rPr>
              <a:t>2</a:t>
            </a:r>
            <a:r>
              <a:rPr lang="ru-RU" sz="2000" kern="0" dirty="0" smtClean="0">
                <a:solidFill>
                  <a:srgbClr val="000000"/>
                </a:solidFill>
              </a:rPr>
              <a:t>»</a:t>
            </a:r>
            <a:endParaRPr lang="ru-RU" sz="3200" kern="0" dirty="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50794"/>
            <a:ext cx="370299" cy="288147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400" smtClean="0"/>
              <a:pPr>
                <a:defRPr/>
              </a:pPr>
              <a:t>2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66474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059832" y="116632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Алгоритм назначения и выплаты именных стипендии Губернатора области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620848256"/>
              </p:ext>
            </p:extLst>
          </p:nvPr>
        </p:nvGraphicFramePr>
        <p:xfrm>
          <a:off x="1228407" y="829310"/>
          <a:ext cx="6687185" cy="5480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66366"/>
            <a:ext cx="370299" cy="257369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200" smtClean="0"/>
              <a:pPr>
                <a:defRPr/>
              </a:pPr>
              <a:t>3</a:t>
            </a:fld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034844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059832" y="18864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5" y="1412776"/>
            <a:ext cx="8424935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800" kern="0" dirty="0" smtClean="0">
                <a:solidFill>
                  <a:srgbClr val="000000"/>
                </a:solidFill>
              </a:rPr>
              <a:t>Именные стипендии Губернатора области направлены на решение задач:</a:t>
            </a:r>
          </a:p>
          <a:p>
            <a:pPr marL="457200" indent="-457200" algn="just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i="1" kern="0" dirty="0" smtClean="0">
                <a:solidFill>
                  <a:srgbClr val="000000"/>
                </a:solidFill>
              </a:rPr>
              <a:t>Поддержка и стимулирование талантливой молодежи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i="1" kern="0" dirty="0" smtClean="0">
                <a:solidFill>
                  <a:srgbClr val="000000"/>
                </a:solidFill>
              </a:rPr>
              <a:t>Стимулирование подготовки кадров в интересах социально-экономического развития региона</a:t>
            </a:r>
          </a:p>
          <a:p>
            <a:pPr marL="457200" indent="-45720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i="1" kern="0" dirty="0" smtClean="0">
                <a:solidFill>
                  <a:srgbClr val="000000"/>
                </a:solidFill>
              </a:rPr>
              <a:t>Поддержка общественно полезной, патриотической, спортивной и творческой деятельности молодежи</a:t>
            </a:r>
            <a:endParaRPr lang="ru-RU" sz="3200" kern="0" dirty="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4</a:t>
            </a:fld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445394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0197328"/>
              </p:ext>
            </p:extLst>
          </p:nvPr>
        </p:nvGraphicFramePr>
        <p:xfrm>
          <a:off x="323528" y="1052737"/>
          <a:ext cx="8352929" cy="490042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156128"/>
                <a:gridCol w="1753085"/>
                <a:gridCol w="1443716"/>
              </a:tblGrid>
              <a:tr h="64897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ид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личеств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мер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08109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</a:t>
                      </a:r>
                      <a:r>
                        <a:rPr lang="ru-RU" sz="18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талантливым </a:t>
                      </a: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удентам</a:t>
                      </a: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/>
                          <a:ea typeface="Times New Roman"/>
                          <a:cs typeface="Calibri"/>
                        </a:rPr>
                        <a:t> 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4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50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77605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</a:t>
                      </a:r>
                      <a:r>
                        <a:rPr lang="ru-RU" sz="18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талантливым </a:t>
                      </a: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спирантам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00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223926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</a:t>
                      </a:r>
                      <a:r>
                        <a:rPr lang="ru-RU" sz="18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удентам</a:t>
                      </a: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, обучающимся по приоритетным в Ярославской области образовательным программам высшего образования 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5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80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223926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</a:t>
                      </a:r>
                      <a:r>
                        <a:rPr lang="ru-RU" sz="1800" dirty="0" smtClean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рдинаторам</a:t>
                      </a: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, обучающимся по приоритетным в Ярославской области образовательным программам высшего образования 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475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472794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имени В.В. Терешковой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350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9201">
                <a:tc>
                  <a:txBody>
                    <a:bodyPr/>
                    <a:lstStyle/>
                    <a:p>
                      <a:pPr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ипендия имени Ф.Г. Волкова</a:t>
                      </a:r>
                      <a:endParaRPr lang="ru-RU" sz="1800" dirty="0">
                        <a:effectLst/>
                        <a:latin typeface="Times New Roman"/>
                        <a:ea typeface="Times New Roman"/>
                        <a:cs typeface="Calibri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000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606504"/>
            <a:ext cx="404641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5</a:t>
            </a:fld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45830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1" y="1012086"/>
            <a:ext cx="82809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Алгоритм действий по отбору и представлению претендентов на назначение именных стипендий на 2017/2018 </a:t>
            </a:r>
            <a:r>
              <a:rPr lang="ru-RU" sz="2000" b="1" dirty="0"/>
              <a:t>учебный</a:t>
            </a:r>
            <a:r>
              <a:rPr lang="ru-RU" sz="2000" b="1" dirty="0" smtClean="0"/>
              <a:t> год </a:t>
            </a:r>
            <a:endParaRPr lang="ru-RU" sz="2000" b="1" dirty="0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908905680"/>
              </p:ext>
            </p:extLst>
          </p:nvPr>
        </p:nvGraphicFramePr>
        <p:xfrm>
          <a:off x="286755" y="1412776"/>
          <a:ext cx="8568952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6</a:t>
            </a:fld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955576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398052036"/>
              </p:ext>
            </p:extLst>
          </p:nvPr>
        </p:nvGraphicFramePr>
        <p:xfrm>
          <a:off x="323527" y="1052736"/>
          <a:ext cx="8568952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741583130"/>
              </p:ext>
            </p:extLst>
          </p:nvPr>
        </p:nvGraphicFramePr>
        <p:xfrm>
          <a:off x="1524000" y="2204864"/>
          <a:ext cx="6792416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7791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2017/2018 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687379654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658665390"/>
              </p:ext>
            </p:extLst>
          </p:nvPr>
        </p:nvGraphicFramePr>
        <p:xfrm>
          <a:off x="539553" y="1628800"/>
          <a:ext cx="8280918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2329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1"/>
          <p:cNvSpPr>
            <a:spLocks noGrp="1"/>
          </p:cNvSpPr>
          <p:nvPr>
            <p:ph type="title"/>
          </p:nvPr>
        </p:nvSpPr>
        <p:spPr>
          <a:xfrm>
            <a:off x="3127406" y="0"/>
            <a:ext cx="5687863" cy="707886"/>
          </a:xfrm>
        </p:spPr>
        <p:txBody>
          <a:bodyPr/>
          <a:lstStyle/>
          <a:p>
            <a:pPr algn="ctr"/>
            <a:r>
              <a:rPr lang="ru-RU" altLang="ru-RU" sz="2000" dirty="0" smtClean="0"/>
              <a:t>Именные стипендии Губернатора области: </a:t>
            </a:r>
            <a:r>
              <a:rPr lang="ru-RU" altLang="ru-RU" sz="2000" dirty="0" smtClean="0"/>
              <a:t>2017/2018 </a:t>
            </a:r>
            <a:r>
              <a:rPr lang="ru-RU" altLang="ru-RU" sz="2000" dirty="0" smtClean="0"/>
              <a:t>учебный год      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9388" y="2541613"/>
            <a:ext cx="4103687" cy="177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1412776"/>
            <a:ext cx="84249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2000" kern="0" dirty="0">
              <a:solidFill>
                <a:srgbClr val="000000"/>
              </a:solidFill>
            </a:endParaRPr>
          </a:p>
          <a:p>
            <a:pPr marL="457200" indent="-457200" algn="just">
              <a:buFont typeface="Arial" panose="020B0604020202020204" pitchFamily="34" charset="0"/>
              <a:buChar char="•"/>
              <a:defRPr/>
            </a:pPr>
            <a:endParaRPr lang="ru-RU" sz="3200" kern="0" dirty="0">
              <a:solidFill>
                <a:srgbClr val="000000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019922876"/>
              </p:ext>
            </p:extLst>
          </p:nvPr>
        </p:nvGraphicFramePr>
        <p:xfrm>
          <a:off x="323527" y="692696"/>
          <a:ext cx="8568952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999436082"/>
              </p:ext>
            </p:extLst>
          </p:nvPr>
        </p:nvGraphicFramePr>
        <p:xfrm>
          <a:off x="539553" y="1772816"/>
          <a:ext cx="8280918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138" y="2348879"/>
            <a:ext cx="5926137" cy="3960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39359" y="6573877"/>
            <a:ext cx="370299" cy="241980"/>
          </a:xfrm>
        </p:spPr>
        <p:txBody>
          <a:bodyPr/>
          <a:lstStyle/>
          <a:p>
            <a:pPr>
              <a:defRPr/>
            </a:pPr>
            <a:fld id="{E50564A7-8A93-4F31-8962-F553873970FA}" type="slidenum">
              <a:rPr lang="ru-RU" sz="1100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330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_ShIsfAk6KHFexbPaJ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cQX0kkk6rkUqT6Kp7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LTInL__ESpMZ.sTZRO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TnU2uy1Uq1sNOCCDRm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Ad7V0smUK23zwzC7TI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JoKG0yMU.ZXeAhNaf.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TnU2uy1Uq1sNOCCDRm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Ad7V0smUK23zwzC7TIRg"/>
</p:tagLst>
</file>

<file path=ppt/theme/theme1.xml><?xml version="1.0" encoding="utf-8"?>
<a:theme xmlns:a="http://schemas.openxmlformats.org/drawingml/2006/main" name="16_Тема Office">
  <a:themeElements>
    <a:clrScheme name="16_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Тема Office">
      <a:majorFont>
        <a:latin typeface="Arial"/>
        <a:ea typeface=""/>
        <a:cs typeface="Arial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A9D645C69FC1149BB75727CF37A019F" ma:contentTypeVersion="" ma:contentTypeDescription="Создание документа." ma:contentTypeScope="" ma:versionID="e332cf78edae91e3db9565801f30626f">
  <xsd:schema xmlns:xsd="http://www.w3.org/2001/XMLSchema" xmlns:xs="http://www.w3.org/2001/XMLSchema" xmlns:p="http://schemas.microsoft.com/office/2006/metadata/properties" xmlns:ns1="http://schemas.microsoft.com/sharepoint/v3" xmlns:ns2="$ListId:docsDocuments;" targetNamespace="http://schemas.microsoft.com/office/2006/metadata/properties" ma:root="true" ma:fieldsID="71d02001d7b3d86018fd1780289b0402" ns1:_="" ns2:_="">
    <xsd:import namespace="http://schemas.microsoft.com/sharepoint/v3"/>
    <xsd:import namespace="$ListId:docsDocuments;"/>
    <xsd:element name="properties">
      <xsd:complexType>
        <xsd:sequence>
          <xsd:element name="documentManagement">
            <xsd:complexType>
              <xsd:all>
                <xsd:element ref="ns2:Desc" minOccurs="0"/>
                <xsd:element ref="ns2:DocDate" minOccurs="0"/>
                <xsd:element ref="ns2:docType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5" nillable="true" ma:displayName="Дата начала расписания" ma:internalName="PublishingStartDate">
      <xsd:simpleType>
        <xsd:restriction base="dms:Unknown"/>
      </xsd:simpleType>
    </xsd:element>
    <xsd:element name="PublishingExpirationDate" ma:index="6" nillable="true" ma:displayName="Дата окончания расписания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$ListId:docsDocuments;" elementFormDefault="qualified">
    <xsd:import namespace="http://schemas.microsoft.com/office/2006/documentManagement/types"/>
    <xsd:import namespace="http://schemas.microsoft.com/office/infopath/2007/PartnerControls"/>
    <xsd:element name="Desc" ma:index="2" nillable="true" ma:displayName="Описание" ma:internalName="Desc">
      <xsd:simpleType>
        <xsd:restriction base="dms:Note">
          <xsd:maxLength value="255"/>
        </xsd:restriction>
      </xsd:simpleType>
    </xsd:element>
    <xsd:element name="DocDate" ma:index="3" nillable="true" ma:displayName="Дата документа" ma:format="DateOnly" ma:internalName="DocDate">
      <xsd:simpleType>
        <xsd:restriction base="dms:DateTime"/>
      </xsd:simpleType>
    </xsd:element>
    <xsd:element name="docType" ma:index="4" nillable="true" ma:displayName="Тип документа" ma:list="{D59AA7B2-2F25-402F-B018-0C6EC7D5B480}" ma:internalName="docType" ma:readOnly="false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Тип контента"/>
        <xsd:element ref="dc:title" minOccurs="0" maxOccurs="1" ma:index="1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Type xmlns="$ListId:docsDocuments;">10</docType>
    <Desc xmlns="$ListId:docsDocuments;">Содержит алгоритм и описание процедур по участию в кокурсном отборе на назначение именных стипендий в 2017/2018 учебном году. Сопровождается методическими комментариями.</Desc>
    <DocDate xmlns="$ListId:docsDocuments;">2017-06-07T21:00:00+00:00</DocDate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17F167D-FB78-45FD-9417-3BD0308573BD}"/>
</file>

<file path=customXml/itemProps2.xml><?xml version="1.0" encoding="utf-8"?>
<ds:datastoreItem xmlns:ds="http://schemas.openxmlformats.org/officeDocument/2006/customXml" ds:itemID="{B3E64297-9777-47DC-8F04-5F180927F9DB}"/>
</file>

<file path=customXml/itemProps3.xml><?xml version="1.0" encoding="utf-8"?>
<ds:datastoreItem xmlns:ds="http://schemas.openxmlformats.org/officeDocument/2006/customXml" ds:itemID="{73DA2A0C-BABC-4471-8D88-8CBF3EFB5295}"/>
</file>

<file path=docProps/app.xml><?xml version="1.0" encoding="utf-8"?>
<Properties xmlns="http://schemas.openxmlformats.org/officeDocument/2006/extended-properties" xmlns:vt="http://schemas.openxmlformats.org/officeDocument/2006/docPropsVTypes">
  <TotalTime>1934</TotalTime>
  <Words>1532</Words>
  <Application>Microsoft Office PowerPoint</Application>
  <PresentationFormat>Экран (4:3)</PresentationFormat>
  <Paragraphs>248</Paragraphs>
  <Slides>16</Slides>
  <Notes>1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16_Тема Office</vt:lpstr>
      <vt:lpstr>think-cell Slide</vt:lpstr>
      <vt:lpstr>Именные стипендии Губернатора области      </vt:lpstr>
      <vt:lpstr>Именные стипендии Губернатора области      </vt:lpstr>
      <vt:lpstr>Алгоритм назначения и выплаты именных стипендии Губернатора области</vt:lpstr>
      <vt:lpstr>Именные стипендии Губернатора области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  <vt:lpstr>Именные стипендии Губернатора области: 2017/2018 учебный год   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Лоханина Ирина Михайловна</dc:creator>
  <cp:lastModifiedBy>Лоханина Ирина Михайловна</cp:lastModifiedBy>
  <cp:revision>119</cp:revision>
  <cp:lastPrinted>2016-06-09T13:41:03Z</cp:lastPrinted>
  <dcterms:created xsi:type="dcterms:W3CDTF">2016-06-07T07:15:40Z</dcterms:created>
  <dcterms:modified xsi:type="dcterms:W3CDTF">2017-06-08T11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9D645C69FC1149BB75727CF37A019F</vt:lpwstr>
  </property>
</Properties>
</file>